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38" r:id="rId4"/>
    <p:sldMasterId id="2147483858" r:id="rId5"/>
    <p:sldMasterId id="2147483878" r:id="rId6"/>
  </p:sldMasterIdLst>
  <p:notesMasterIdLst>
    <p:notesMasterId r:id="rId13"/>
  </p:notesMasterIdLst>
  <p:handoutMasterIdLst>
    <p:handoutMasterId r:id="rId14"/>
  </p:handoutMasterIdLst>
  <p:sldIdLst>
    <p:sldId id="256" r:id="rId7"/>
    <p:sldId id="276" r:id="rId8"/>
    <p:sldId id="296" r:id="rId9"/>
    <p:sldId id="297" r:id="rId10"/>
    <p:sldId id="273" r:id="rId11"/>
    <p:sldId id="274" r:id="rId12"/>
  </p:sldIdLst>
  <p:sldSz cx="12192000" cy="6858000"/>
  <p:notesSz cx="6858000" cy="9144000"/>
  <p:custDataLst>
    <p:tags r:id="rId15"/>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999C"/>
    <a:srgbClr val="6D64CC"/>
    <a:srgbClr val="C7FF17"/>
    <a:srgbClr val="CC2980"/>
    <a:srgbClr val="80B8D6"/>
    <a:srgbClr val="88D5ED"/>
    <a:srgbClr val="FF6327"/>
    <a:srgbClr val="860864"/>
    <a:srgbClr val="FF7D82"/>
    <a:srgbClr val="6E6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5759" autoAdjust="0"/>
  </p:normalViewPr>
  <p:slideViewPr>
    <p:cSldViewPr>
      <p:cViewPr varScale="1">
        <p:scale>
          <a:sx n="75" d="100"/>
          <a:sy n="75" d="100"/>
        </p:scale>
        <p:origin x="216" y="5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vijaynat\Desktop\YEP\All%20Links.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1" u="none" strike="noStrike" kern="1200" spc="0" baseline="0">
                <a:solidFill>
                  <a:schemeClr val="lt1"/>
                </a:solidFill>
                <a:latin typeface="+mn-lt"/>
                <a:ea typeface="+mn-ea"/>
                <a:cs typeface="+mn-cs"/>
              </a:defRPr>
            </a:pPr>
            <a:r>
              <a:rPr lang="en-US" sz="2000" i="1">
                <a:solidFill>
                  <a:schemeClr val="lt1"/>
                </a:solidFill>
                <a:latin typeface="+mn-lt"/>
                <a:ea typeface="+mn-ea"/>
                <a:cs typeface="+mn-cs"/>
              </a:rPr>
              <a:t>YEP</a:t>
            </a:r>
            <a:r>
              <a:rPr lang="en-US" sz="2000" i="1" baseline="0">
                <a:solidFill>
                  <a:schemeClr val="lt1"/>
                </a:solidFill>
                <a:latin typeface="+mn-lt"/>
                <a:ea typeface="+mn-ea"/>
                <a:cs typeface="+mn-cs"/>
              </a:rPr>
              <a:t> PAN INDIA LAUNCH</a:t>
            </a:r>
            <a:endParaRPr lang="en-US" sz="2000" i="1"/>
          </a:p>
        </c:rich>
      </c:tx>
      <c:layout/>
      <c:overlay val="0"/>
      <c:spPr>
        <a:solidFill>
          <a:schemeClr val="accent5"/>
        </a:solidFill>
        <a:ln w="12700" cap="flat" cmpd="sng" algn="ctr">
          <a:noFill/>
          <a:prstDash val="solid"/>
          <a:miter lim="800000"/>
        </a:ln>
        <a:effectLst/>
      </c:spPr>
      <c:txPr>
        <a:bodyPr rot="0" spcFirstLastPara="1" vertOverflow="ellipsis" vert="horz" wrap="square" anchor="ctr" anchorCtr="1"/>
        <a:lstStyle/>
        <a:p>
          <a:pPr>
            <a:defRPr sz="2000" b="0" i="1" u="none" strike="noStrike" kern="1200" spc="0" baseline="0">
              <a:solidFill>
                <a:schemeClr val="lt1"/>
              </a:solidFill>
              <a:latin typeface="+mn-lt"/>
              <a:ea typeface="+mn-ea"/>
              <a:cs typeface="+mn-cs"/>
            </a:defRPr>
          </a:pPr>
          <a:endParaRPr lang="en-US"/>
        </a:p>
      </c:txPr>
    </c:title>
    <c:autoTitleDeleted val="0"/>
    <c:plotArea>
      <c:layout/>
      <c:barChart>
        <c:barDir val="bar"/>
        <c:grouping val="stacked"/>
        <c:varyColors val="0"/>
        <c:ser>
          <c:idx val="0"/>
          <c:order val="0"/>
          <c:tx>
            <c:strRef>
              <c:f>Sheet2!$B$1</c:f>
              <c:strCache>
                <c:ptCount val="1"/>
                <c:pt idx="0">
                  <c:v>Start date</c:v>
                </c:pt>
              </c:strCache>
            </c:strRef>
          </c:tx>
          <c:spPr>
            <a:noFill/>
            <a:ln>
              <a:noFill/>
            </a:ln>
            <a:effectLst/>
          </c:spPr>
          <c:invertIfNegative val="0"/>
          <c:cat>
            <c:strRef>
              <c:f>Sheet2!$A$2:$A$14</c:f>
              <c:strCache>
                <c:ptCount val="12"/>
                <c:pt idx="0">
                  <c:v>Sign - Off on Genesis</c:v>
                </c:pt>
                <c:pt idx="1">
                  <c:v>To Finalise Launch date</c:v>
                </c:pt>
                <c:pt idx="2">
                  <c:v>Identification of Target Pax</c:v>
                </c:pt>
                <c:pt idx="3">
                  <c:v>Validation of Target Pax</c:v>
                </c:pt>
                <c:pt idx="4">
                  <c:v>CHRO Program Launch Mail</c:v>
                </c:pt>
                <c:pt idx="5">
                  <c:v>Head L&amp;D Welcome Mail</c:v>
                </c:pt>
                <c:pt idx="6">
                  <c:v>Orientation Calls with CM's</c:v>
                </c:pt>
                <c:pt idx="7">
                  <c:v>Orientation Calls with Pax</c:v>
                </c:pt>
                <c:pt idx="8">
                  <c:v>Roll out of YEP Program</c:v>
                </c:pt>
                <c:pt idx="9">
                  <c:v>YEP Café</c:v>
                </c:pt>
                <c:pt idx="10">
                  <c:v>Closure of Journey</c:v>
                </c:pt>
                <c:pt idx="11">
                  <c:v>Issue Certificates to Pax</c:v>
                </c:pt>
              </c:strCache>
            </c:strRef>
          </c:cat>
          <c:val>
            <c:numRef>
              <c:f>Sheet2!$B$2:$B$14</c:f>
              <c:numCache>
                <c:formatCode>[$-409]d\-mmm;@</c:formatCode>
                <c:ptCount val="12"/>
                <c:pt idx="0">
                  <c:v>43962</c:v>
                </c:pt>
                <c:pt idx="1">
                  <c:v>43962</c:v>
                </c:pt>
                <c:pt idx="2">
                  <c:v>43962</c:v>
                </c:pt>
                <c:pt idx="3">
                  <c:v>43965</c:v>
                </c:pt>
                <c:pt idx="4">
                  <c:v>43966</c:v>
                </c:pt>
                <c:pt idx="5">
                  <c:v>43966</c:v>
                </c:pt>
                <c:pt idx="6">
                  <c:v>43964</c:v>
                </c:pt>
                <c:pt idx="7">
                  <c:v>43969</c:v>
                </c:pt>
                <c:pt idx="8">
                  <c:v>43969</c:v>
                </c:pt>
                <c:pt idx="9">
                  <c:v>43983</c:v>
                </c:pt>
                <c:pt idx="10">
                  <c:v>44001</c:v>
                </c:pt>
                <c:pt idx="11">
                  <c:v>44011</c:v>
                </c:pt>
              </c:numCache>
            </c:numRef>
          </c:val>
          <c:extLst xmlns:c16r2="http://schemas.microsoft.com/office/drawing/2015/06/chart">
            <c:ext xmlns:c16="http://schemas.microsoft.com/office/drawing/2014/chart" uri="{C3380CC4-5D6E-409C-BE32-E72D297353CC}">
              <c16:uniqueId val="{00000000-AE49-4F90-BD0B-BFB58D6ABC5F}"/>
            </c:ext>
          </c:extLst>
        </c:ser>
        <c:ser>
          <c:idx val="1"/>
          <c:order val="1"/>
          <c:tx>
            <c:strRef>
              <c:f>Sheet2!$C$1</c:f>
              <c:strCache>
                <c:ptCount val="1"/>
                <c:pt idx="0">
                  <c:v>Duration</c:v>
                </c:pt>
              </c:strCache>
            </c:strRef>
          </c:tx>
          <c:spPr>
            <a:solidFill>
              <a:schemeClr val="accent2"/>
            </a:solidFill>
            <a:ln>
              <a:noFill/>
            </a:ln>
            <a:effectLst/>
          </c:spPr>
          <c:invertIfNegative val="0"/>
          <c:cat>
            <c:strRef>
              <c:f>Sheet2!$A$2:$A$14</c:f>
              <c:strCache>
                <c:ptCount val="12"/>
                <c:pt idx="0">
                  <c:v>Sign - Off on Genesis</c:v>
                </c:pt>
                <c:pt idx="1">
                  <c:v>To Finalise Launch date</c:v>
                </c:pt>
                <c:pt idx="2">
                  <c:v>Identification of Target Pax</c:v>
                </c:pt>
                <c:pt idx="3">
                  <c:v>Validation of Target Pax</c:v>
                </c:pt>
                <c:pt idx="4">
                  <c:v>CHRO Program Launch Mail</c:v>
                </c:pt>
                <c:pt idx="5">
                  <c:v>Head L&amp;D Welcome Mail</c:v>
                </c:pt>
                <c:pt idx="6">
                  <c:v>Orientation Calls with CM's</c:v>
                </c:pt>
                <c:pt idx="7">
                  <c:v>Orientation Calls with Pax</c:v>
                </c:pt>
                <c:pt idx="8">
                  <c:v>Roll out of YEP Program</c:v>
                </c:pt>
                <c:pt idx="9">
                  <c:v>YEP Café</c:v>
                </c:pt>
                <c:pt idx="10">
                  <c:v>Closure of Journey</c:v>
                </c:pt>
                <c:pt idx="11">
                  <c:v>Issue Certificates to Pax</c:v>
                </c:pt>
              </c:strCache>
            </c:strRef>
          </c:cat>
          <c:val>
            <c:numRef>
              <c:f>Sheet2!$C$2:$C$14</c:f>
              <c:numCache>
                <c:formatCode>0</c:formatCode>
                <c:ptCount val="12"/>
                <c:pt idx="0">
                  <c:v>3</c:v>
                </c:pt>
                <c:pt idx="1">
                  <c:v>3</c:v>
                </c:pt>
                <c:pt idx="2">
                  <c:v>3</c:v>
                </c:pt>
                <c:pt idx="3">
                  <c:v>2</c:v>
                </c:pt>
                <c:pt idx="4">
                  <c:v>2</c:v>
                </c:pt>
                <c:pt idx="5">
                  <c:v>2</c:v>
                </c:pt>
                <c:pt idx="6">
                  <c:v>2</c:v>
                </c:pt>
                <c:pt idx="7">
                  <c:v>5</c:v>
                </c:pt>
                <c:pt idx="8">
                  <c:v>30</c:v>
                </c:pt>
                <c:pt idx="9">
                  <c:v>22</c:v>
                </c:pt>
                <c:pt idx="10">
                  <c:v>5</c:v>
                </c:pt>
                <c:pt idx="11">
                  <c:v>9</c:v>
                </c:pt>
              </c:numCache>
            </c:numRef>
          </c:val>
          <c:extLst xmlns:c16r2="http://schemas.microsoft.com/office/drawing/2015/06/chart">
            <c:ext xmlns:c16="http://schemas.microsoft.com/office/drawing/2014/chart" uri="{C3380CC4-5D6E-409C-BE32-E72D297353CC}">
              <c16:uniqueId val="{00000001-AE49-4F90-BD0B-BFB58D6ABC5F}"/>
            </c:ext>
          </c:extLst>
        </c:ser>
        <c:ser>
          <c:idx val="2"/>
          <c:order val="2"/>
          <c:tx>
            <c:strRef>
              <c:f>Sheet2!$D$1</c:f>
              <c:strCache>
                <c:ptCount val="1"/>
                <c:pt idx="0">
                  <c:v>End date</c:v>
                </c:pt>
              </c:strCache>
            </c:strRef>
          </c:tx>
          <c:spPr>
            <a:noFill/>
            <a:ln>
              <a:noFill/>
            </a:ln>
            <a:effectLst/>
          </c:spPr>
          <c:invertIfNegative val="0"/>
          <c:cat>
            <c:strRef>
              <c:f>Sheet2!$A$2:$A$14</c:f>
              <c:strCache>
                <c:ptCount val="12"/>
                <c:pt idx="0">
                  <c:v>Sign - Off on Genesis</c:v>
                </c:pt>
                <c:pt idx="1">
                  <c:v>To Finalise Launch date</c:v>
                </c:pt>
                <c:pt idx="2">
                  <c:v>Identification of Target Pax</c:v>
                </c:pt>
                <c:pt idx="3">
                  <c:v>Validation of Target Pax</c:v>
                </c:pt>
                <c:pt idx="4">
                  <c:v>CHRO Program Launch Mail</c:v>
                </c:pt>
                <c:pt idx="5">
                  <c:v>Head L&amp;D Welcome Mail</c:v>
                </c:pt>
                <c:pt idx="6">
                  <c:v>Orientation Calls with CM's</c:v>
                </c:pt>
                <c:pt idx="7">
                  <c:v>Orientation Calls with Pax</c:v>
                </c:pt>
                <c:pt idx="8">
                  <c:v>Roll out of YEP Program</c:v>
                </c:pt>
                <c:pt idx="9">
                  <c:v>YEP Café</c:v>
                </c:pt>
                <c:pt idx="10">
                  <c:v>Closure of Journey</c:v>
                </c:pt>
                <c:pt idx="11">
                  <c:v>Issue Certificates to Pax</c:v>
                </c:pt>
              </c:strCache>
            </c:strRef>
          </c:cat>
          <c:val>
            <c:numRef>
              <c:f>Sheet2!$D$2:$D$14</c:f>
              <c:numCache>
                <c:formatCode>[$-409]d\-mmm;@</c:formatCode>
                <c:ptCount val="12"/>
                <c:pt idx="0">
                  <c:v>43965</c:v>
                </c:pt>
                <c:pt idx="1">
                  <c:v>43965</c:v>
                </c:pt>
                <c:pt idx="2">
                  <c:v>43965</c:v>
                </c:pt>
                <c:pt idx="3">
                  <c:v>43966</c:v>
                </c:pt>
                <c:pt idx="4">
                  <c:v>43967</c:v>
                </c:pt>
                <c:pt idx="5">
                  <c:v>43967</c:v>
                </c:pt>
                <c:pt idx="6">
                  <c:v>43965</c:v>
                </c:pt>
                <c:pt idx="7">
                  <c:v>43973</c:v>
                </c:pt>
                <c:pt idx="8">
                  <c:v>44000</c:v>
                </c:pt>
                <c:pt idx="9">
                  <c:v>44005</c:v>
                </c:pt>
                <c:pt idx="10">
                  <c:v>44006</c:v>
                </c:pt>
                <c:pt idx="11">
                  <c:v>44022</c:v>
                </c:pt>
              </c:numCache>
            </c:numRef>
          </c:val>
          <c:extLst xmlns:c16r2="http://schemas.microsoft.com/office/drawing/2015/06/chart">
            <c:ext xmlns:c16="http://schemas.microsoft.com/office/drawing/2014/chart" uri="{C3380CC4-5D6E-409C-BE32-E72D297353CC}">
              <c16:uniqueId val="{00000002-AE49-4F90-BD0B-BFB58D6ABC5F}"/>
            </c:ext>
          </c:extLst>
        </c:ser>
        <c:dLbls>
          <c:showLegendKey val="0"/>
          <c:showVal val="0"/>
          <c:showCatName val="0"/>
          <c:showSerName val="0"/>
          <c:showPercent val="0"/>
          <c:showBubbleSize val="0"/>
        </c:dLbls>
        <c:gapWidth val="150"/>
        <c:overlap val="100"/>
        <c:axId val="416940336"/>
        <c:axId val="416944256"/>
      </c:barChart>
      <c:catAx>
        <c:axId val="4169403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16944256"/>
        <c:crosses val="autoZero"/>
        <c:auto val="1"/>
        <c:lblAlgn val="ctr"/>
        <c:lblOffset val="100"/>
        <c:noMultiLvlLbl val="0"/>
      </c:catAx>
      <c:valAx>
        <c:axId val="416944256"/>
        <c:scaling>
          <c:orientation val="minMax"/>
          <c:max val="44022"/>
          <c:min val="43962"/>
        </c:scaling>
        <c:delete val="0"/>
        <c:axPos val="b"/>
        <c:majorGridlines>
          <c:spPr>
            <a:ln w="9525" cap="flat" cmpd="sng" algn="ctr">
              <a:solidFill>
                <a:schemeClr val="tx1">
                  <a:lumMod val="15000"/>
                  <a:lumOff val="85000"/>
                </a:schemeClr>
              </a:solidFill>
              <a:round/>
            </a:ln>
            <a:effectLst/>
          </c:spPr>
        </c:majorGridlines>
        <c:numFmt formatCode="[$-409]d\-mmm;@"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16940336"/>
        <c:crosses val="max"/>
        <c:crossBetween val="between"/>
        <c:majorUnit val="6"/>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5/05/2020</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5/05/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CA2D21D1-52E2-420B-B491-CFF6D7BB79F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30929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0.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9.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8.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2.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1.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9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53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25404F2-BE9A-4460-8815-8F645183555F}" type="datetimeFigureOut">
              <a:rPr lang="en-US" smtClean="0"/>
              <a:pPr/>
              <a:t>5/15/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41833503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2"/>
            <a:ext cx="5384800" cy="45259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2"/>
            <a:ext cx="5384800" cy="45259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25404F2-BE9A-4460-8815-8F645183555F}" type="datetimeFigureOut">
              <a:rPr lang="en-US" smtClean="0"/>
              <a:pPr/>
              <a:t>5/15/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8986485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4"/>
            <a:ext cx="5389033"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25404F2-BE9A-4460-8815-8F645183555F}" type="datetimeFigureOut">
              <a:rPr lang="en-US" smtClean="0"/>
              <a:pPr/>
              <a:t>5/15/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26761350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600"/>
            </a:lvl1pPr>
          </a:lstStyle>
          <a:p>
            <a:r>
              <a:rPr lang="en-US"/>
              <a:t>Click to edit Master title style</a:t>
            </a:r>
          </a:p>
        </p:txBody>
      </p:sp>
      <p:sp>
        <p:nvSpPr>
          <p:cNvPr id="3" name="Date Placeholder 2"/>
          <p:cNvSpPr>
            <a:spLocks noGrp="1"/>
          </p:cNvSpPr>
          <p:nvPr>
            <p:ph type="dt" sz="half" idx="10"/>
          </p:nvPr>
        </p:nvSpPr>
        <p:spPr/>
        <p:txBody>
          <a:bodyPr/>
          <a:lstStyle/>
          <a:p>
            <a:fld id="{425404F2-BE9A-4460-8815-8F645183555F}" type="datetimeFigureOut">
              <a:rPr lang="en-US" smtClean="0"/>
              <a:pPr/>
              <a:t>5/15/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1903414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600"/>
            </a:lvl1pPr>
          </a:lstStyle>
          <a:p>
            <a:r>
              <a:rPr lang="en-US"/>
              <a:t>Click to edit Master title style</a:t>
            </a:r>
          </a:p>
        </p:txBody>
      </p:sp>
      <p:sp>
        <p:nvSpPr>
          <p:cNvPr id="3" name="Date Placeholder 2"/>
          <p:cNvSpPr>
            <a:spLocks noGrp="1"/>
          </p:cNvSpPr>
          <p:nvPr>
            <p:ph type="dt" sz="half" idx="10"/>
          </p:nvPr>
        </p:nvSpPr>
        <p:spPr/>
        <p:txBody>
          <a:bodyPr/>
          <a:lstStyle/>
          <a:p>
            <a:fld id="{425404F2-BE9A-4460-8815-8F645183555F}" type="datetimeFigureOut">
              <a:rPr lang="en-US" smtClean="0"/>
              <a:pPr/>
              <a:t>5/15/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35095403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25404F2-BE9A-4460-8815-8F645183555F}" type="datetimeFigureOut">
              <a:rPr lang="en-US" smtClean="0"/>
              <a:pPr/>
              <a:t>5/15/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4160559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3"/>
            <a:ext cx="4011084" cy="46910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425404F2-BE9A-4460-8815-8F645183555F}" type="datetimeFigureOut">
              <a:rPr lang="en-US" smtClean="0"/>
              <a:pPr/>
              <a:t>5/15/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18894532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1"/>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endParaRPr lang="en-US"/>
          </a:p>
        </p:txBody>
      </p:sp>
      <p:sp>
        <p:nvSpPr>
          <p:cNvPr id="4" name="Text Placeholder 3"/>
          <p:cNvSpPr>
            <a:spLocks noGrp="1"/>
          </p:cNvSpPr>
          <p:nvPr>
            <p:ph type="body" sz="half" idx="2"/>
          </p:nvPr>
        </p:nvSpPr>
        <p:spPr>
          <a:xfrm>
            <a:off x="2389718" y="5367339"/>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425404F2-BE9A-4460-8815-8F645183555F}" type="datetimeFigureOut">
              <a:rPr lang="en-US" smtClean="0"/>
              <a:pPr/>
              <a:t>5/15/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33034833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5404F2-BE9A-4460-8815-8F645183555F}" type="datetimeFigureOut">
              <a:rPr lang="en-US" smtClean="0"/>
              <a:pPr/>
              <a:t>5/15/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1405101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5404F2-BE9A-4460-8815-8F645183555F}" type="datetimeFigureOut">
              <a:rPr lang="en-US" smtClean="0"/>
              <a:pPr/>
              <a:t>5/15/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30799026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66"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1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3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xmlns=""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xmlns=""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xmlns=""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xmlns=""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xmlns=""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7" name="Rectangle 6"/>
          <p:cNvSpPr/>
          <p:nvPr/>
        </p:nvSpPr>
        <p:spPr>
          <a:xfrm>
            <a:off x="1" y="3886200"/>
            <a:ext cx="12192000" cy="2971800"/>
          </a:xfrm>
          <a:prstGeom prst="rect">
            <a:avLst/>
          </a:prstGeom>
          <a:gradFill flip="none" rotWithShape="1">
            <a:gsLst>
              <a:gs pos="100000">
                <a:schemeClr val="bg1">
                  <a:lumMod val="65000"/>
                  <a:alpha val="53000"/>
                </a:schemeClr>
              </a:gs>
              <a:gs pos="0">
                <a:schemeClr val="bg1">
                  <a:lumMod val="9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ctr"/>
          <a:lstStyle/>
          <a:p>
            <a:pPr algn="ctr"/>
            <a:endParaRPr lang="en-US" sz="1800">
              <a:solidFill>
                <a:prstClr val="white"/>
              </a:solidFill>
            </a:endParaRPr>
          </a:p>
        </p:txBody>
      </p:sp>
      <p:sp>
        <p:nvSpPr>
          <p:cNvPr id="2" name="Title 1"/>
          <p:cNvSpPr>
            <a:spLocks noGrp="1"/>
          </p:cNvSpPr>
          <p:nvPr>
            <p:ph type="ctrTitle"/>
          </p:nvPr>
        </p:nvSpPr>
        <p:spPr>
          <a:xfrm>
            <a:off x="914401" y="3887117"/>
            <a:ext cx="10363200" cy="610820"/>
          </a:xfrm>
        </p:spPr>
        <p:txBody>
          <a:bodyPr/>
          <a:lstStyle>
            <a:lvl1pPr algn="ctr">
              <a:defRPr lang="en-US" sz="4000" kern="1200" smtClean="0">
                <a:solidFill>
                  <a:schemeClr val="tx1">
                    <a:lumMod val="75000"/>
                    <a:lumOff val="25000"/>
                  </a:schemeClr>
                </a:solidFill>
                <a:latin typeface="+mj-lt"/>
                <a:ea typeface="+mj-ea"/>
                <a:cs typeface="+mj-cs"/>
              </a:defRPr>
            </a:lvl1pPr>
          </a:lstStyle>
          <a:p>
            <a:r>
              <a:rPr lang="en-US"/>
              <a:t>Click to edit Master title style</a:t>
            </a:r>
          </a:p>
        </p:txBody>
      </p:sp>
      <p:sp>
        <p:nvSpPr>
          <p:cNvPr id="3" name="Subtitle 2"/>
          <p:cNvSpPr>
            <a:spLocks noGrp="1"/>
          </p:cNvSpPr>
          <p:nvPr>
            <p:ph type="subTitle" idx="1"/>
          </p:nvPr>
        </p:nvSpPr>
        <p:spPr>
          <a:xfrm>
            <a:off x="1828800" y="4399020"/>
            <a:ext cx="8534401" cy="764440"/>
          </a:xfrm>
        </p:spPr>
        <p:txBody>
          <a:bodyPr>
            <a:normAutofit/>
          </a:bodyPr>
          <a:lstStyle>
            <a:lvl1pPr marL="0" indent="0" algn="ctr">
              <a:buNone/>
              <a:defRPr lang="en-US" sz="2400" kern="1200" smtClean="0">
                <a:solidFill>
                  <a:schemeClr val="tx1">
                    <a:lumMod val="65000"/>
                    <a:lumOff val="35000"/>
                  </a:schemeClr>
                </a:solidFill>
                <a:latin typeface="+mj-lt"/>
                <a:ea typeface="+mj-ea"/>
                <a:cs typeface="+mj-cs"/>
              </a:defRPr>
            </a:lvl1pPr>
            <a:lvl2pPr marL="609468" indent="0" algn="ctr">
              <a:buNone/>
              <a:defRPr>
                <a:solidFill>
                  <a:schemeClr val="tx1">
                    <a:tint val="75000"/>
                  </a:schemeClr>
                </a:solidFill>
              </a:defRPr>
            </a:lvl2pPr>
            <a:lvl3pPr marL="1218936" indent="0" algn="ctr">
              <a:buNone/>
              <a:defRPr>
                <a:solidFill>
                  <a:schemeClr val="tx1">
                    <a:tint val="75000"/>
                  </a:schemeClr>
                </a:solidFill>
              </a:defRPr>
            </a:lvl3pPr>
            <a:lvl4pPr marL="1828404" indent="0" algn="ctr">
              <a:buNone/>
              <a:defRPr>
                <a:solidFill>
                  <a:schemeClr val="tx1">
                    <a:tint val="75000"/>
                  </a:schemeClr>
                </a:solidFill>
              </a:defRPr>
            </a:lvl4pPr>
            <a:lvl5pPr marL="2437872" indent="0" algn="ctr">
              <a:buNone/>
              <a:defRPr>
                <a:solidFill>
                  <a:schemeClr val="tx1">
                    <a:tint val="75000"/>
                  </a:schemeClr>
                </a:solidFill>
              </a:defRPr>
            </a:lvl5pPr>
            <a:lvl6pPr marL="3047340" indent="0" algn="ctr">
              <a:buNone/>
              <a:defRPr>
                <a:solidFill>
                  <a:schemeClr val="tx1">
                    <a:tint val="75000"/>
                  </a:schemeClr>
                </a:solidFill>
              </a:defRPr>
            </a:lvl6pPr>
            <a:lvl7pPr marL="3656808" indent="0" algn="ctr">
              <a:buNone/>
              <a:defRPr>
                <a:solidFill>
                  <a:schemeClr val="tx1">
                    <a:tint val="75000"/>
                  </a:schemeClr>
                </a:solidFill>
              </a:defRPr>
            </a:lvl7pPr>
            <a:lvl8pPr marL="4266275" indent="0" algn="ctr">
              <a:buNone/>
              <a:defRPr>
                <a:solidFill>
                  <a:schemeClr val="tx1">
                    <a:tint val="75000"/>
                  </a:schemeClr>
                </a:solidFill>
              </a:defRPr>
            </a:lvl8pPr>
            <a:lvl9pPr marL="4875744"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578D6DB-6798-42D2-B9AD-FC6F1C72FC30}" type="datetimeFigureOut">
              <a:rPr lang="en-US" smtClean="0"/>
              <a:pPr/>
              <a:t>5/15/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EDE275-BE14-4364-AEA2-5F5667C0FD49}" type="slidenum">
              <a:rPr lang="en-US" smtClean="0"/>
              <a:pPr/>
              <a:t>‹#›</a:t>
            </a:fld>
            <a:endParaRPr lang="en-US"/>
          </a:p>
        </p:txBody>
      </p:sp>
    </p:spTree>
    <p:extLst>
      <p:ext uri="{BB962C8B-B14F-4D97-AF65-F5344CB8AC3E}">
        <p14:creationId xmlns:p14="http://schemas.microsoft.com/office/powerpoint/2010/main" val="5505712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tx1">
                    <a:tint val="75000"/>
                  </a:schemeClr>
                </a:solidFill>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425404F2-BE9A-4460-8815-8F645183555F}" type="datetimeFigureOut">
              <a:rPr lang="en-US" smtClean="0"/>
              <a:pPr/>
              <a:t>5/15/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2062243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5404F2-BE9A-4460-8815-8F645183555F}" type="datetimeFigureOut">
              <a:rPr lang="en-US" smtClean="0"/>
              <a:pPr/>
              <a:t>5/15/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5506744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oleObject" Target="../embeddings/oleObject6.bin"/><Relationship Id="rId5" Type="http://schemas.openxmlformats.org/officeDocument/2006/relationships/tags" Target="../tags/tag7.xml"/><Relationship Id="rId4" Type="http://schemas.openxmlformats.org/officeDocument/2006/relationships/vmlDrawing" Target="../drawings/vmlDrawing6.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71"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xmlns=""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xmlns=""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xmlns=""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xmlns=""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xmlns=""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xmlns=""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88"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40"/>
            <a:ext cx="10972801" cy="711081"/>
          </a:xfrm>
          <a:prstGeom prst="rect">
            <a:avLst/>
          </a:prstGeom>
        </p:spPr>
        <p:txBody>
          <a:bodyPr vert="horz" lIns="121899" tIns="60949" rIns="121899" bIns="60949" rtlCol="0" anchor="ctr">
            <a:normAutofit/>
          </a:bodyPr>
          <a:lstStyle/>
          <a:p>
            <a:r>
              <a:rPr lang="en-US"/>
              <a:t>Click to edit Master title style</a:t>
            </a:r>
          </a:p>
        </p:txBody>
      </p:sp>
      <p:sp>
        <p:nvSpPr>
          <p:cNvPr id="3" name="Text Placeholder 2"/>
          <p:cNvSpPr>
            <a:spLocks noGrp="1"/>
          </p:cNvSpPr>
          <p:nvPr>
            <p:ph type="body" idx="1"/>
          </p:nvPr>
        </p:nvSpPr>
        <p:spPr>
          <a:xfrm>
            <a:off x="609600" y="1138426"/>
            <a:ext cx="10972801" cy="4987739"/>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2"/>
            <a:ext cx="2844800" cy="365125"/>
          </a:xfrm>
          <a:prstGeom prst="rect">
            <a:avLst/>
          </a:prstGeom>
        </p:spPr>
        <p:txBody>
          <a:bodyPr vert="horz" lIns="121899" tIns="60949" rIns="121899" bIns="60949" rtlCol="0" anchor="ctr"/>
          <a:lstStyle>
            <a:lvl1pPr algn="l">
              <a:defRPr sz="1600">
                <a:solidFill>
                  <a:schemeClr val="tx1">
                    <a:tint val="75000"/>
                  </a:schemeClr>
                </a:solidFill>
              </a:defRPr>
            </a:lvl1pPr>
          </a:lstStyle>
          <a:p>
            <a:fld id="{425404F2-BE9A-4460-8815-8F645183555F}" type="datetimeFigureOut">
              <a:rPr lang="en-US" smtClean="0"/>
              <a:pPr/>
              <a:t>5/15/2020</a:t>
            </a:fld>
            <a:endParaRPr lang="en-US"/>
          </a:p>
        </p:txBody>
      </p:sp>
      <p:sp>
        <p:nvSpPr>
          <p:cNvPr id="5" name="Footer Placeholder 4"/>
          <p:cNvSpPr>
            <a:spLocks noGrp="1"/>
          </p:cNvSpPr>
          <p:nvPr>
            <p:ph type="ftr" sz="quarter" idx="3"/>
          </p:nvPr>
        </p:nvSpPr>
        <p:spPr>
          <a:xfrm>
            <a:off x="4165601" y="6356352"/>
            <a:ext cx="3860800" cy="365125"/>
          </a:xfrm>
          <a:prstGeom prst="rect">
            <a:avLst/>
          </a:prstGeom>
        </p:spPr>
        <p:txBody>
          <a:bodyPr vert="horz" lIns="121899" tIns="60949" rIns="121899" bIns="60949"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1" y="6356352"/>
            <a:ext cx="2844800" cy="365125"/>
          </a:xfrm>
          <a:prstGeom prst="rect">
            <a:avLst/>
          </a:prstGeom>
        </p:spPr>
        <p:txBody>
          <a:bodyPr vert="horz" lIns="121899" tIns="60949" rIns="121899" bIns="60949" rtlCol="0" anchor="ctr"/>
          <a:lstStyle>
            <a:lvl1pPr algn="r">
              <a:defRPr sz="1600">
                <a:solidFill>
                  <a:schemeClr val="tx1">
                    <a:tint val="75000"/>
                  </a:schemeClr>
                </a:solidFill>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371514321"/>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1" r:id="rId13"/>
  </p:sldLayoutIdLst>
  <p:txStyles>
    <p:titleStyle>
      <a:lvl1pPr algn="l" defTabSz="1218987" rtl="0" eaLnBrk="1" latinLnBrk="0" hangingPunct="1">
        <a:spcBef>
          <a:spcPct val="0"/>
        </a:spcBef>
        <a:buNone/>
        <a:defRPr sz="3600" kern="1200">
          <a:solidFill>
            <a:schemeClr val="tx1"/>
          </a:solidFill>
          <a:latin typeface="+mj-lt"/>
          <a:ea typeface="+mj-ea"/>
          <a:cs typeface="+mj-cs"/>
        </a:defRPr>
      </a:lvl1pPr>
    </p:titleStyle>
    <p:body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hyperlink" Target="http://links.degreed.com/wf/click?upn=9yUJougBjUT2a-2F-2F9XbdUn5Mt7qhG5-2F0ZWyobjz3MNmF0r6twPuEtNAFm45erL-2BgAD6y-2BX4EobbzwuvNrRaBToqdJgjfpCNcNAaT-2FH9Q78DwMqEeHHIwk-2BcAz8eZBfa5hZEc9mQIU-2FWibIoS3bUDVIQ-3D-3D_MgTv3DN-2Bm2uNujU4F1zJCycvndjZVPgu4lWAX-2Fnjcg6IWdA2g-2BSKLiKuyJJK6GMYk9lhTc4G-2FhEs0Pvv8d4FVeIHb5sf-2FqCwn9aLENIzszak2Ls9ngtdOI66InGSzESjF8DSIhs4TF1XG9a2Vl-2Bymdr6CvMB3R4Rumxw5KItFvyTCuANujVqzmL5Zzan48cl1bS4NaFWFWqpFelUWOujirWQot5h-2BZY7M4wDl9R9rBVAssF6FI7Dcv2hpzsbym7unLN5dCX0VAh2DCTmWimLG-2F-2FTIIxdEo9TY-2BdUT-2FIXuP0gRV-2Bmcv4ugJVVK5lc5pIlqxN7lWfJXELrnJGQUXImLM9KFKF3V1aTFF7mJuCXdxmDYxiRAjJtWYuzn-2BHXgpyfd0t4IVKu-2Fawrv3xR0WZVW2c5qKP9G-2Bi9k6ayX1-2BQlKLTiQv33ZAfaICsx8PRrTmK" TargetMode="External"/><Relationship Id="rId7"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openxmlformats.org/officeDocument/2006/relationships/slideLayout" Target="../slideLayouts/slideLayout13.xml"/><Relationship Id="rId1" Type="http://schemas.openxmlformats.org/officeDocument/2006/relationships/vmlDrawing" Target="../drawings/vmlDrawing7.vml"/><Relationship Id="rId4" Type="http://schemas.openxmlformats.org/officeDocument/2006/relationships/image" Target="../media/image16.emf"/></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Young Emerging Professional (YEP Lite) India Launch</a:t>
            </a:r>
            <a:endParaRPr lang="en-GB"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5" name="Freeform 32"/>
          <p:cNvSpPr>
            <a:spLocks noEditPoints="1"/>
          </p:cNvSpPr>
          <p:nvPr/>
        </p:nvSpPr>
        <p:spPr bwMode="auto">
          <a:xfrm>
            <a:off x="547935" y="3515666"/>
            <a:ext cx="933041" cy="450744"/>
          </a:xfrm>
          <a:custGeom>
            <a:avLst/>
            <a:gdLst>
              <a:gd name="T0" fmla="*/ 665 w 1308"/>
              <a:gd name="T1" fmla="*/ 189 h 664"/>
              <a:gd name="T2" fmla="*/ 641 w 1308"/>
              <a:gd name="T3" fmla="*/ 297 h 664"/>
              <a:gd name="T4" fmla="*/ 613 w 1308"/>
              <a:gd name="T5" fmla="*/ 367 h 664"/>
              <a:gd name="T6" fmla="*/ 602 w 1308"/>
              <a:gd name="T7" fmla="*/ 287 h 664"/>
              <a:gd name="T8" fmla="*/ 658 w 1308"/>
              <a:gd name="T9" fmla="*/ 160 h 664"/>
              <a:gd name="T10" fmla="*/ 753 w 1308"/>
              <a:gd name="T11" fmla="*/ 203 h 664"/>
              <a:gd name="T12" fmla="*/ 744 w 1308"/>
              <a:gd name="T13" fmla="*/ 223 h 664"/>
              <a:gd name="T14" fmla="*/ 737 w 1308"/>
              <a:gd name="T15" fmla="*/ 287 h 664"/>
              <a:gd name="T16" fmla="*/ 722 w 1308"/>
              <a:gd name="T17" fmla="*/ 463 h 664"/>
              <a:gd name="T18" fmla="*/ 704 w 1308"/>
              <a:gd name="T19" fmla="*/ 182 h 664"/>
              <a:gd name="T20" fmla="*/ 219 w 1308"/>
              <a:gd name="T21" fmla="*/ 415 h 664"/>
              <a:gd name="T22" fmla="*/ 154 w 1308"/>
              <a:gd name="T23" fmla="*/ 259 h 664"/>
              <a:gd name="T24" fmla="*/ 135 w 1308"/>
              <a:gd name="T25" fmla="*/ 378 h 664"/>
              <a:gd name="T26" fmla="*/ 93 w 1308"/>
              <a:gd name="T27" fmla="*/ 569 h 664"/>
              <a:gd name="T28" fmla="*/ 1 w 1308"/>
              <a:gd name="T29" fmla="*/ 618 h 664"/>
              <a:gd name="T30" fmla="*/ 32 w 1308"/>
              <a:gd name="T31" fmla="*/ 636 h 664"/>
              <a:gd name="T32" fmla="*/ 372 w 1308"/>
              <a:gd name="T33" fmla="*/ 621 h 664"/>
              <a:gd name="T34" fmla="*/ 870 w 1308"/>
              <a:gd name="T35" fmla="*/ 632 h 664"/>
              <a:gd name="T36" fmla="*/ 1285 w 1308"/>
              <a:gd name="T37" fmla="*/ 664 h 664"/>
              <a:gd name="T38" fmla="*/ 1303 w 1308"/>
              <a:gd name="T39" fmla="*/ 652 h 664"/>
              <a:gd name="T40" fmla="*/ 1199 w 1308"/>
              <a:gd name="T41" fmla="*/ 594 h 664"/>
              <a:gd name="T42" fmla="*/ 1165 w 1308"/>
              <a:gd name="T43" fmla="*/ 418 h 664"/>
              <a:gd name="T44" fmla="*/ 1077 w 1308"/>
              <a:gd name="T45" fmla="*/ 247 h 664"/>
              <a:gd name="T46" fmla="*/ 937 w 1308"/>
              <a:gd name="T47" fmla="*/ 157 h 664"/>
              <a:gd name="T48" fmla="*/ 787 w 1308"/>
              <a:gd name="T49" fmla="*/ 89 h 664"/>
              <a:gd name="T50" fmla="*/ 700 w 1308"/>
              <a:gd name="T51" fmla="*/ 83 h 664"/>
              <a:gd name="T52" fmla="*/ 779 w 1308"/>
              <a:gd name="T53" fmla="*/ 128 h 664"/>
              <a:gd name="T54" fmla="*/ 736 w 1308"/>
              <a:gd name="T55" fmla="*/ 150 h 664"/>
              <a:gd name="T56" fmla="*/ 676 w 1308"/>
              <a:gd name="T57" fmla="*/ 121 h 664"/>
              <a:gd name="T58" fmla="*/ 609 w 1308"/>
              <a:gd name="T59" fmla="*/ 175 h 664"/>
              <a:gd name="T60" fmla="*/ 590 w 1308"/>
              <a:gd name="T61" fmla="*/ 57 h 664"/>
              <a:gd name="T62" fmla="*/ 562 w 1308"/>
              <a:gd name="T63" fmla="*/ 27 h 664"/>
              <a:gd name="T64" fmla="*/ 514 w 1308"/>
              <a:gd name="T65" fmla="*/ 162 h 664"/>
              <a:gd name="T66" fmla="*/ 518 w 1308"/>
              <a:gd name="T67" fmla="*/ 288 h 664"/>
              <a:gd name="T68" fmla="*/ 495 w 1308"/>
              <a:gd name="T69" fmla="*/ 345 h 664"/>
              <a:gd name="T70" fmla="*/ 477 w 1308"/>
              <a:gd name="T71" fmla="*/ 225 h 664"/>
              <a:gd name="T72" fmla="*/ 501 w 1308"/>
              <a:gd name="T73" fmla="*/ 76 h 664"/>
              <a:gd name="T74" fmla="*/ 442 w 1308"/>
              <a:gd name="T75" fmla="*/ 113 h 664"/>
              <a:gd name="T76" fmla="*/ 406 w 1308"/>
              <a:gd name="T77" fmla="*/ 234 h 664"/>
              <a:gd name="T78" fmla="*/ 361 w 1308"/>
              <a:gd name="T79" fmla="*/ 156 h 664"/>
              <a:gd name="T80" fmla="*/ 242 w 1308"/>
              <a:gd name="T81" fmla="*/ 6 h 664"/>
              <a:gd name="T82" fmla="*/ 241 w 1308"/>
              <a:gd name="T83" fmla="*/ 57 h 664"/>
              <a:gd name="T84" fmla="*/ 358 w 1308"/>
              <a:gd name="T85" fmla="*/ 328 h 664"/>
              <a:gd name="T86" fmla="*/ 331 w 1308"/>
              <a:gd name="T87" fmla="*/ 287 h 664"/>
              <a:gd name="T88" fmla="*/ 231 w 1308"/>
              <a:gd name="T89" fmla="*/ 125 h 664"/>
              <a:gd name="T90" fmla="*/ 186 w 1308"/>
              <a:gd name="T91" fmla="*/ 90 h 664"/>
              <a:gd name="T92" fmla="*/ 187 w 1308"/>
              <a:gd name="T93" fmla="*/ 201 h 664"/>
              <a:gd name="T94" fmla="*/ 284 w 1308"/>
              <a:gd name="T95" fmla="*/ 449 h 664"/>
              <a:gd name="T96" fmla="*/ 1041 w 1308"/>
              <a:gd name="T97" fmla="*/ 444 h 664"/>
              <a:gd name="T98" fmla="*/ 995 w 1308"/>
              <a:gd name="T99" fmla="*/ 281 h 664"/>
              <a:gd name="T100" fmla="*/ 1006 w 1308"/>
              <a:gd name="T101" fmla="*/ 238 h 664"/>
              <a:gd name="T102" fmla="*/ 1082 w 1308"/>
              <a:gd name="T103" fmla="*/ 365 h 664"/>
              <a:gd name="T104" fmla="*/ 551 w 1308"/>
              <a:gd name="T105" fmla="*/ 495 h 664"/>
              <a:gd name="T106" fmla="*/ 551 w 1308"/>
              <a:gd name="T107" fmla="*/ 434 h 664"/>
              <a:gd name="T108" fmla="*/ 551 w 1308"/>
              <a:gd name="T109" fmla="*/ 495 h 664"/>
              <a:gd name="T110" fmla="*/ 816 w 1308"/>
              <a:gd name="T111" fmla="*/ 153 h 664"/>
              <a:gd name="T112" fmla="*/ 878 w 1308"/>
              <a:gd name="T113" fmla="*/ 244 h 664"/>
              <a:gd name="T114" fmla="*/ 828 w 1308"/>
              <a:gd name="T115" fmla="*/ 197 h 664"/>
              <a:gd name="T116" fmla="*/ 869 w 1308"/>
              <a:gd name="T117" fmla="*/ 343 h 664"/>
              <a:gd name="T118" fmla="*/ 854 w 1308"/>
              <a:gd name="T119" fmla="*/ 408 h 664"/>
              <a:gd name="T120" fmla="*/ 362 w 1308"/>
              <a:gd name="T121" fmla="*/ 360 h 664"/>
              <a:gd name="T122" fmla="*/ 367 w 1308"/>
              <a:gd name="T123" fmla="*/ 360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08" h="664">
                <a:moveTo>
                  <a:pt x="699" y="171"/>
                </a:moveTo>
                <a:lnTo>
                  <a:pt x="695" y="172"/>
                </a:lnTo>
                <a:lnTo>
                  <a:pt x="693" y="173"/>
                </a:lnTo>
                <a:lnTo>
                  <a:pt x="691" y="174"/>
                </a:lnTo>
                <a:lnTo>
                  <a:pt x="688" y="175"/>
                </a:lnTo>
                <a:lnTo>
                  <a:pt x="676" y="181"/>
                </a:lnTo>
                <a:lnTo>
                  <a:pt x="668" y="185"/>
                </a:lnTo>
                <a:lnTo>
                  <a:pt x="665" y="189"/>
                </a:lnTo>
                <a:lnTo>
                  <a:pt x="662" y="191"/>
                </a:lnTo>
                <a:lnTo>
                  <a:pt x="660" y="194"/>
                </a:lnTo>
                <a:lnTo>
                  <a:pt x="658" y="198"/>
                </a:lnTo>
                <a:lnTo>
                  <a:pt x="654" y="208"/>
                </a:lnTo>
                <a:lnTo>
                  <a:pt x="652" y="221"/>
                </a:lnTo>
                <a:lnTo>
                  <a:pt x="650" y="240"/>
                </a:lnTo>
                <a:lnTo>
                  <a:pt x="647" y="264"/>
                </a:lnTo>
                <a:lnTo>
                  <a:pt x="641" y="297"/>
                </a:lnTo>
                <a:lnTo>
                  <a:pt x="639" y="329"/>
                </a:lnTo>
                <a:lnTo>
                  <a:pt x="636" y="362"/>
                </a:lnTo>
                <a:lnTo>
                  <a:pt x="636" y="397"/>
                </a:lnTo>
                <a:lnTo>
                  <a:pt x="632" y="393"/>
                </a:lnTo>
                <a:lnTo>
                  <a:pt x="627" y="390"/>
                </a:lnTo>
                <a:lnTo>
                  <a:pt x="624" y="385"/>
                </a:lnTo>
                <a:lnTo>
                  <a:pt x="619" y="380"/>
                </a:lnTo>
                <a:lnTo>
                  <a:pt x="613" y="367"/>
                </a:lnTo>
                <a:lnTo>
                  <a:pt x="607" y="354"/>
                </a:lnTo>
                <a:lnTo>
                  <a:pt x="602" y="340"/>
                </a:lnTo>
                <a:lnTo>
                  <a:pt x="600" y="329"/>
                </a:lnTo>
                <a:lnTo>
                  <a:pt x="598" y="319"/>
                </a:lnTo>
                <a:lnTo>
                  <a:pt x="597" y="312"/>
                </a:lnTo>
                <a:lnTo>
                  <a:pt x="598" y="304"/>
                </a:lnTo>
                <a:lnTo>
                  <a:pt x="599" y="296"/>
                </a:lnTo>
                <a:lnTo>
                  <a:pt x="602" y="287"/>
                </a:lnTo>
                <a:lnTo>
                  <a:pt x="606" y="278"/>
                </a:lnTo>
                <a:lnTo>
                  <a:pt x="616" y="256"/>
                </a:lnTo>
                <a:lnTo>
                  <a:pt x="626" y="234"/>
                </a:lnTo>
                <a:lnTo>
                  <a:pt x="638" y="211"/>
                </a:lnTo>
                <a:lnTo>
                  <a:pt x="648" y="189"/>
                </a:lnTo>
                <a:lnTo>
                  <a:pt x="652" y="179"/>
                </a:lnTo>
                <a:lnTo>
                  <a:pt x="656" y="170"/>
                </a:lnTo>
                <a:lnTo>
                  <a:pt x="658" y="160"/>
                </a:lnTo>
                <a:lnTo>
                  <a:pt x="660" y="153"/>
                </a:lnTo>
                <a:lnTo>
                  <a:pt x="671" y="156"/>
                </a:lnTo>
                <a:lnTo>
                  <a:pt x="686" y="162"/>
                </a:lnTo>
                <a:lnTo>
                  <a:pt x="703" y="170"/>
                </a:lnTo>
                <a:lnTo>
                  <a:pt x="720" y="179"/>
                </a:lnTo>
                <a:lnTo>
                  <a:pt x="736" y="189"/>
                </a:lnTo>
                <a:lnTo>
                  <a:pt x="748" y="198"/>
                </a:lnTo>
                <a:lnTo>
                  <a:pt x="753" y="203"/>
                </a:lnTo>
                <a:lnTo>
                  <a:pt x="755" y="208"/>
                </a:lnTo>
                <a:lnTo>
                  <a:pt x="756" y="212"/>
                </a:lnTo>
                <a:lnTo>
                  <a:pt x="756" y="216"/>
                </a:lnTo>
                <a:lnTo>
                  <a:pt x="752" y="224"/>
                </a:lnTo>
                <a:lnTo>
                  <a:pt x="749" y="227"/>
                </a:lnTo>
                <a:lnTo>
                  <a:pt x="747" y="227"/>
                </a:lnTo>
                <a:lnTo>
                  <a:pt x="746" y="225"/>
                </a:lnTo>
                <a:lnTo>
                  <a:pt x="744" y="223"/>
                </a:lnTo>
                <a:lnTo>
                  <a:pt x="741" y="220"/>
                </a:lnTo>
                <a:lnTo>
                  <a:pt x="739" y="219"/>
                </a:lnTo>
                <a:lnTo>
                  <a:pt x="737" y="219"/>
                </a:lnTo>
                <a:lnTo>
                  <a:pt x="734" y="219"/>
                </a:lnTo>
                <a:lnTo>
                  <a:pt x="730" y="220"/>
                </a:lnTo>
                <a:lnTo>
                  <a:pt x="731" y="243"/>
                </a:lnTo>
                <a:lnTo>
                  <a:pt x="734" y="264"/>
                </a:lnTo>
                <a:lnTo>
                  <a:pt x="737" y="287"/>
                </a:lnTo>
                <a:lnTo>
                  <a:pt x="741" y="308"/>
                </a:lnTo>
                <a:lnTo>
                  <a:pt x="746" y="330"/>
                </a:lnTo>
                <a:lnTo>
                  <a:pt x="749" y="354"/>
                </a:lnTo>
                <a:lnTo>
                  <a:pt x="753" y="377"/>
                </a:lnTo>
                <a:lnTo>
                  <a:pt x="754" y="403"/>
                </a:lnTo>
                <a:lnTo>
                  <a:pt x="754" y="495"/>
                </a:lnTo>
                <a:lnTo>
                  <a:pt x="722" y="495"/>
                </a:lnTo>
                <a:lnTo>
                  <a:pt x="722" y="463"/>
                </a:lnTo>
                <a:lnTo>
                  <a:pt x="722" y="423"/>
                </a:lnTo>
                <a:lnTo>
                  <a:pt x="722" y="375"/>
                </a:lnTo>
                <a:lnTo>
                  <a:pt x="721" y="325"/>
                </a:lnTo>
                <a:lnTo>
                  <a:pt x="719" y="277"/>
                </a:lnTo>
                <a:lnTo>
                  <a:pt x="715" y="233"/>
                </a:lnTo>
                <a:lnTo>
                  <a:pt x="712" y="214"/>
                </a:lnTo>
                <a:lnTo>
                  <a:pt x="709" y="195"/>
                </a:lnTo>
                <a:lnTo>
                  <a:pt x="704" y="182"/>
                </a:lnTo>
                <a:lnTo>
                  <a:pt x="699" y="171"/>
                </a:lnTo>
                <a:close/>
                <a:moveTo>
                  <a:pt x="287" y="467"/>
                </a:moveTo>
                <a:lnTo>
                  <a:pt x="279" y="481"/>
                </a:lnTo>
                <a:lnTo>
                  <a:pt x="271" y="495"/>
                </a:lnTo>
                <a:lnTo>
                  <a:pt x="230" y="495"/>
                </a:lnTo>
                <a:lnTo>
                  <a:pt x="229" y="471"/>
                </a:lnTo>
                <a:lnTo>
                  <a:pt x="225" y="444"/>
                </a:lnTo>
                <a:lnTo>
                  <a:pt x="219" y="415"/>
                </a:lnTo>
                <a:lnTo>
                  <a:pt x="212" y="382"/>
                </a:lnTo>
                <a:lnTo>
                  <a:pt x="203" y="349"/>
                </a:lnTo>
                <a:lnTo>
                  <a:pt x="192" y="315"/>
                </a:lnTo>
                <a:lnTo>
                  <a:pt x="180" y="280"/>
                </a:lnTo>
                <a:lnTo>
                  <a:pt x="167" y="247"/>
                </a:lnTo>
                <a:lnTo>
                  <a:pt x="163" y="251"/>
                </a:lnTo>
                <a:lnTo>
                  <a:pt x="158" y="254"/>
                </a:lnTo>
                <a:lnTo>
                  <a:pt x="154" y="259"/>
                </a:lnTo>
                <a:lnTo>
                  <a:pt x="151" y="264"/>
                </a:lnTo>
                <a:lnTo>
                  <a:pt x="144" y="276"/>
                </a:lnTo>
                <a:lnTo>
                  <a:pt x="139" y="288"/>
                </a:lnTo>
                <a:lnTo>
                  <a:pt x="136" y="303"/>
                </a:lnTo>
                <a:lnTo>
                  <a:pt x="135" y="320"/>
                </a:lnTo>
                <a:lnTo>
                  <a:pt x="134" y="338"/>
                </a:lnTo>
                <a:lnTo>
                  <a:pt x="134" y="358"/>
                </a:lnTo>
                <a:lnTo>
                  <a:pt x="135" y="378"/>
                </a:lnTo>
                <a:lnTo>
                  <a:pt x="137" y="401"/>
                </a:lnTo>
                <a:lnTo>
                  <a:pt x="140" y="424"/>
                </a:lnTo>
                <a:lnTo>
                  <a:pt x="144" y="447"/>
                </a:lnTo>
                <a:lnTo>
                  <a:pt x="154" y="498"/>
                </a:lnTo>
                <a:lnTo>
                  <a:pt x="165" y="551"/>
                </a:lnTo>
                <a:lnTo>
                  <a:pt x="144" y="556"/>
                </a:lnTo>
                <a:lnTo>
                  <a:pt x="119" y="562"/>
                </a:lnTo>
                <a:lnTo>
                  <a:pt x="93" y="569"/>
                </a:lnTo>
                <a:lnTo>
                  <a:pt x="64" y="580"/>
                </a:lnTo>
                <a:lnTo>
                  <a:pt x="43" y="589"/>
                </a:lnTo>
                <a:lnTo>
                  <a:pt x="27" y="597"/>
                </a:lnTo>
                <a:lnTo>
                  <a:pt x="15" y="603"/>
                </a:lnTo>
                <a:lnTo>
                  <a:pt x="7" y="610"/>
                </a:lnTo>
                <a:lnTo>
                  <a:pt x="5" y="613"/>
                </a:lnTo>
                <a:lnTo>
                  <a:pt x="3" y="616"/>
                </a:lnTo>
                <a:lnTo>
                  <a:pt x="1" y="618"/>
                </a:lnTo>
                <a:lnTo>
                  <a:pt x="0" y="620"/>
                </a:lnTo>
                <a:lnTo>
                  <a:pt x="1" y="623"/>
                </a:lnTo>
                <a:lnTo>
                  <a:pt x="1" y="625"/>
                </a:lnTo>
                <a:lnTo>
                  <a:pt x="4" y="627"/>
                </a:lnTo>
                <a:lnTo>
                  <a:pt x="6" y="629"/>
                </a:lnTo>
                <a:lnTo>
                  <a:pt x="13" y="632"/>
                </a:lnTo>
                <a:lnTo>
                  <a:pt x="22" y="635"/>
                </a:lnTo>
                <a:lnTo>
                  <a:pt x="32" y="636"/>
                </a:lnTo>
                <a:lnTo>
                  <a:pt x="44" y="638"/>
                </a:lnTo>
                <a:lnTo>
                  <a:pt x="75" y="639"/>
                </a:lnTo>
                <a:lnTo>
                  <a:pt x="108" y="639"/>
                </a:lnTo>
                <a:lnTo>
                  <a:pt x="162" y="637"/>
                </a:lnTo>
                <a:lnTo>
                  <a:pt x="212" y="634"/>
                </a:lnTo>
                <a:lnTo>
                  <a:pt x="259" y="629"/>
                </a:lnTo>
                <a:lnTo>
                  <a:pt x="311" y="625"/>
                </a:lnTo>
                <a:lnTo>
                  <a:pt x="372" y="621"/>
                </a:lnTo>
                <a:lnTo>
                  <a:pt x="447" y="618"/>
                </a:lnTo>
                <a:lnTo>
                  <a:pt x="491" y="617"/>
                </a:lnTo>
                <a:lnTo>
                  <a:pt x="539" y="617"/>
                </a:lnTo>
                <a:lnTo>
                  <a:pt x="593" y="617"/>
                </a:lnTo>
                <a:lnTo>
                  <a:pt x="654" y="618"/>
                </a:lnTo>
                <a:lnTo>
                  <a:pt x="728" y="621"/>
                </a:lnTo>
                <a:lnTo>
                  <a:pt x="800" y="626"/>
                </a:lnTo>
                <a:lnTo>
                  <a:pt x="870" y="632"/>
                </a:lnTo>
                <a:lnTo>
                  <a:pt x="939" y="637"/>
                </a:lnTo>
                <a:lnTo>
                  <a:pt x="1008" y="644"/>
                </a:lnTo>
                <a:lnTo>
                  <a:pt x="1076" y="651"/>
                </a:lnTo>
                <a:lnTo>
                  <a:pt x="1145" y="656"/>
                </a:lnTo>
                <a:lnTo>
                  <a:pt x="1215" y="661"/>
                </a:lnTo>
                <a:lnTo>
                  <a:pt x="1248" y="663"/>
                </a:lnTo>
                <a:lnTo>
                  <a:pt x="1275" y="664"/>
                </a:lnTo>
                <a:lnTo>
                  <a:pt x="1285" y="664"/>
                </a:lnTo>
                <a:lnTo>
                  <a:pt x="1294" y="663"/>
                </a:lnTo>
                <a:lnTo>
                  <a:pt x="1301" y="662"/>
                </a:lnTo>
                <a:lnTo>
                  <a:pt x="1305" y="661"/>
                </a:lnTo>
                <a:lnTo>
                  <a:pt x="1306" y="660"/>
                </a:lnTo>
                <a:lnTo>
                  <a:pt x="1308" y="659"/>
                </a:lnTo>
                <a:lnTo>
                  <a:pt x="1308" y="658"/>
                </a:lnTo>
                <a:lnTo>
                  <a:pt x="1306" y="655"/>
                </a:lnTo>
                <a:lnTo>
                  <a:pt x="1303" y="652"/>
                </a:lnTo>
                <a:lnTo>
                  <a:pt x="1297" y="646"/>
                </a:lnTo>
                <a:lnTo>
                  <a:pt x="1287" y="641"/>
                </a:lnTo>
                <a:lnTo>
                  <a:pt x="1275" y="634"/>
                </a:lnTo>
                <a:lnTo>
                  <a:pt x="1259" y="626"/>
                </a:lnTo>
                <a:lnTo>
                  <a:pt x="1240" y="616"/>
                </a:lnTo>
                <a:lnTo>
                  <a:pt x="1219" y="607"/>
                </a:lnTo>
                <a:lnTo>
                  <a:pt x="1206" y="600"/>
                </a:lnTo>
                <a:lnTo>
                  <a:pt x="1199" y="594"/>
                </a:lnTo>
                <a:lnTo>
                  <a:pt x="1192" y="586"/>
                </a:lnTo>
                <a:lnTo>
                  <a:pt x="1186" y="576"/>
                </a:lnTo>
                <a:lnTo>
                  <a:pt x="1178" y="562"/>
                </a:lnTo>
                <a:lnTo>
                  <a:pt x="1192" y="562"/>
                </a:lnTo>
                <a:lnTo>
                  <a:pt x="1183" y="513"/>
                </a:lnTo>
                <a:lnTo>
                  <a:pt x="1175" y="464"/>
                </a:lnTo>
                <a:lnTo>
                  <a:pt x="1171" y="442"/>
                </a:lnTo>
                <a:lnTo>
                  <a:pt x="1165" y="418"/>
                </a:lnTo>
                <a:lnTo>
                  <a:pt x="1160" y="395"/>
                </a:lnTo>
                <a:lnTo>
                  <a:pt x="1153" y="373"/>
                </a:lnTo>
                <a:lnTo>
                  <a:pt x="1144" y="351"/>
                </a:lnTo>
                <a:lnTo>
                  <a:pt x="1135" y="330"/>
                </a:lnTo>
                <a:lnTo>
                  <a:pt x="1123" y="308"/>
                </a:lnTo>
                <a:lnTo>
                  <a:pt x="1110" y="287"/>
                </a:lnTo>
                <a:lnTo>
                  <a:pt x="1095" y="267"/>
                </a:lnTo>
                <a:lnTo>
                  <a:pt x="1077" y="247"/>
                </a:lnTo>
                <a:lnTo>
                  <a:pt x="1057" y="228"/>
                </a:lnTo>
                <a:lnTo>
                  <a:pt x="1033" y="209"/>
                </a:lnTo>
                <a:lnTo>
                  <a:pt x="1001" y="185"/>
                </a:lnTo>
                <a:lnTo>
                  <a:pt x="997" y="182"/>
                </a:lnTo>
                <a:lnTo>
                  <a:pt x="993" y="180"/>
                </a:lnTo>
                <a:lnTo>
                  <a:pt x="984" y="174"/>
                </a:lnTo>
                <a:lnTo>
                  <a:pt x="974" y="170"/>
                </a:lnTo>
                <a:lnTo>
                  <a:pt x="937" y="157"/>
                </a:lnTo>
                <a:lnTo>
                  <a:pt x="903" y="146"/>
                </a:lnTo>
                <a:lnTo>
                  <a:pt x="886" y="139"/>
                </a:lnTo>
                <a:lnTo>
                  <a:pt x="869" y="132"/>
                </a:lnTo>
                <a:lnTo>
                  <a:pt x="852" y="124"/>
                </a:lnTo>
                <a:lnTo>
                  <a:pt x="834" y="114"/>
                </a:lnTo>
                <a:lnTo>
                  <a:pt x="819" y="106"/>
                </a:lnTo>
                <a:lnTo>
                  <a:pt x="804" y="97"/>
                </a:lnTo>
                <a:lnTo>
                  <a:pt x="787" y="89"/>
                </a:lnTo>
                <a:lnTo>
                  <a:pt x="769" y="83"/>
                </a:lnTo>
                <a:lnTo>
                  <a:pt x="748" y="76"/>
                </a:lnTo>
                <a:lnTo>
                  <a:pt x="728" y="71"/>
                </a:lnTo>
                <a:lnTo>
                  <a:pt x="706" y="68"/>
                </a:lnTo>
                <a:lnTo>
                  <a:pt x="683" y="68"/>
                </a:lnTo>
                <a:lnTo>
                  <a:pt x="688" y="72"/>
                </a:lnTo>
                <a:lnTo>
                  <a:pt x="694" y="78"/>
                </a:lnTo>
                <a:lnTo>
                  <a:pt x="700" y="83"/>
                </a:lnTo>
                <a:lnTo>
                  <a:pt x="705" y="86"/>
                </a:lnTo>
                <a:lnTo>
                  <a:pt x="719" y="93"/>
                </a:lnTo>
                <a:lnTo>
                  <a:pt x="731" y="98"/>
                </a:lnTo>
                <a:lnTo>
                  <a:pt x="745" y="104"/>
                </a:lnTo>
                <a:lnTo>
                  <a:pt x="758" y="112"/>
                </a:lnTo>
                <a:lnTo>
                  <a:pt x="765" y="116"/>
                </a:lnTo>
                <a:lnTo>
                  <a:pt x="772" y="122"/>
                </a:lnTo>
                <a:lnTo>
                  <a:pt x="779" y="128"/>
                </a:lnTo>
                <a:lnTo>
                  <a:pt x="784" y="134"/>
                </a:lnTo>
                <a:lnTo>
                  <a:pt x="780" y="149"/>
                </a:lnTo>
                <a:lnTo>
                  <a:pt x="776" y="165"/>
                </a:lnTo>
                <a:lnTo>
                  <a:pt x="765" y="163"/>
                </a:lnTo>
                <a:lnTo>
                  <a:pt x="757" y="160"/>
                </a:lnTo>
                <a:lnTo>
                  <a:pt x="752" y="158"/>
                </a:lnTo>
                <a:lnTo>
                  <a:pt x="746" y="155"/>
                </a:lnTo>
                <a:lnTo>
                  <a:pt x="736" y="150"/>
                </a:lnTo>
                <a:lnTo>
                  <a:pt x="719" y="144"/>
                </a:lnTo>
                <a:lnTo>
                  <a:pt x="693" y="137"/>
                </a:lnTo>
                <a:lnTo>
                  <a:pt x="680" y="134"/>
                </a:lnTo>
                <a:lnTo>
                  <a:pt x="679" y="133"/>
                </a:lnTo>
                <a:lnTo>
                  <a:pt x="678" y="132"/>
                </a:lnTo>
                <a:lnTo>
                  <a:pt x="677" y="131"/>
                </a:lnTo>
                <a:lnTo>
                  <a:pt x="676" y="128"/>
                </a:lnTo>
                <a:lnTo>
                  <a:pt x="676" y="121"/>
                </a:lnTo>
                <a:lnTo>
                  <a:pt x="675" y="110"/>
                </a:lnTo>
                <a:lnTo>
                  <a:pt x="664" y="113"/>
                </a:lnTo>
                <a:lnTo>
                  <a:pt x="654" y="118"/>
                </a:lnTo>
                <a:lnTo>
                  <a:pt x="647" y="123"/>
                </a:lnTo>
                <a:lnTo>
                  <a:pt x="641" y="129"/>
                </a:lnTo>
                <a:lnTo>
                  <a:pt x="631" y="144"/>
                </a:lnTo>
                <a:lnTo>
                  <a:pt x="621" y="159"/>
                </a:lnTo>
                <a:lnTo>
                  <a:pt x="609" y="175"/>
                </a:lnTo>
                <a:lnTo>
                  <a:pt x="598" y="190"/>
                </a:lnTo>
                <a:lnTo>
                  <a:pt x="573" y="220"/>
                </a:lnTo>
                <a:lnTo>
                  <a:pt x="574" y="189"/>
                </a:lnTo>
                <a:lnTo>
                  <a:pt x="575" y="160"/>
                </a:lnTo>
                <a:lnTo>
                  <a:pt x="577" y="133"/>
                </a:lnTo>
                <a:lnTo>
                  <a:pt x="580" y="107"/>
                </a:lnTo>
                <a:lnTo>
                  <a:pt x="584" y="83"/>
                </a:lnTo>
                <a:lnTo>
                  <a:pt x="590" y="57"/>
                </a:lnTo>
                <a:lnTo>
                  <a:pt x="597" y="29"/>
                </a:lnTo>
                <a:lnTo>
                  <a:pt x="605" y="0"/>
                </a:lnTo>
                <a:lnTo>
                  <a:pt x="597" y="2"/>
                </a:lnTo>
                <a:lnTo>
                  <a:pt x="589" y="6"/>
                </a:lnTo>
                <a:lnTo>
                  <a:pt x="581" y="10"/>
                </a:lnTo>
                <a:lnTo>
                  <a:pt x="574" y="15"/>
                </a:lnTo>
                <a:lnTo>
                  <a:pt x="569" y="20"/>
                </a:lnTo>
                <a:lnTo>
                  <a:pt x="562" y="27"/>
                </a:lnTo>
                <a:lnTo>
                  <a:pt x="556" y="34"/>
                </a:lnTo>
                <a:lnTo>
                  <a:pt x="552" y="42"/>
                </a:lnTo>
                <a:lnTo>
                  <a:pt x="541" y="59"/>
                </a:lnTo>
                <a:lnTo>
                  <a:pt x="534" y="77"/>
                </a:lnTo>
                <a:lnTo>
                  <a:pt x="527" y="97"/>
                </a:lnTo>
                <a:lnTo>
                  <a:pt x="521" y="119"/>
                </a:lnTo>
                <a:lnTo>
                  <a:pt x="518" y="140"/>
                </a:lnTo>
                <a:lnTo>
                  <a:pt x="514" y="162"/>
                </a:lnTo>
                <a:lnTo>
                  <a:pt x="512" y="182"/>
                </a:lnTo>
                <a:lnTo>
                  <a:pt x="511" y="202"/>
                </a:lnTo>
                <a:lnTo>
                  <a:pt x="511" y="221"/>
                </a:lnTo>
                <a:lnTo>
                  <a:pt x="511" y="238"/>
                </a:lnTo>
                <a:lnTo>
                  <a:pt x="512" y="254"/>
                </a:lnTo>
                <a:lnTo>
                  <a:pt x="514" y="266"/>
                </a:lnTo>
                <a:lnTo>
                  <a:pt x="517" y="277"/>
                </a:lnTo>
                <a:lnTo>
                  <a:pt x="518" y="288"/>
                </a:lnTo>
                <a:lnTo>
                  <a:pt x="518" y="299"/>
                </a:lnTo>
                <a:lnTo>
                  <a:pt x="518" y="310"/>
                </a:lnTo>
                <a:lnTo>
                  <a:pt x="515" y="321"/>
                </a:lnTo>
                <a:lnTo>
                  <a:pt x="512" y="331"/>
                </a:lnTo>
                <a:lnTo>
                  <a:pt x="508" y="342"/>
                </a:lnTo>
                <a:lnTo>
                  <a:pt x="501" y="353"/>
                </a:lnTo>
                <a:lnTo>
                  <a:pt x="495" y="360"/>
                </a:lnTo>
                <a:lnTo>
                  <a:pt x="495" y="345"/>
                </a:lnTo>
                <a:lnTo>
                  <a:pt x="494" y="330"/>
                </a:lnTo>
                <a:lnTo>
                  <a:pt x="492" y="317"/>
                </a:lnTo>
                <a:lnTo>
                  <a:pt x="490" y="306"/>
                </a:lnTo>
                <a:lnTo>
                  <a:pt x="485" y="284"/>
                </a:lnTo>
                <a:lnTo>
                  <a:pt x="480" y="262"/>
                </a:lnTo>
                <a:lnTo>
                  <a:pt x="478" y="251"/>
                </a:lnTo>
                <a:lnTo>
                  <a:pt x="478" y="238"/>
                </a:lnTo>
                <a:lnTo>
                  <a:pt x="477" y="225"/>
                </a:lnTo>
                <a:lnTo>
                  <a:pt x="478" y="209"/>
                </a:lnTo>
                <a:lnTo>
                  <a:pt x="479" y="192"/>
                </a:lnTo>
                <a:lnTo>
                  <a:pt x="483" y="173"/>
                </a:lnTo>
                <a:lnTo>
                  <a:pt x="487" y="151"/>
                </a:lnTo>
                <a:lnTo>
                  <a:pt x="494" y="127"/>
                </a:lnTo>
                <a:lnTo>
                  <a:pt x="497" y="107"/>
                </a:lnTo>
                <a:lnTo>
                  <a:pt x="499" y="90"/>
                </a:lnTo>
                <a:lnTo>
                  <a:pt x="501" y="76"/>
                </a:lnTo>
                <a:lnTo>
                  <a:pt x="503" y="61"/>
                </a:lnTo>
                <a:lnTo>
                  <a:pt x="491" y="64"/>
                </a:lnTo>
                <a:lnTo>
                  <a:pt x="480" y="70"/>
                </a:lnTo>
                <a:lnTo>
                  <a:pt x="470" y="77"/>
                </a:lnTo>
                <a:lnTo>
                  <a:pt x="462" y="84"/>
                </a:lnTo>
                <a:lnTo>
                  <a:pt x="454" y="93"/>
                </a:lnTo>
                <a:lnTo>
                  <a:pt x="448" y="103"/>
                </a:lnTo>
                <a:lnTo>
                  <a:pt x="442" y="113"/>
                </a:lnTo>
                <a:lnTo>
                  <a:pt x="438" y="124"/>
                </a:lnTo>
                <a:lnTo>
                  <a:pt x="430" y="147"/>
                </a:lnTo>
                <a:lnTo>
                  <a:pt x="424" y="171"/>
                </a:lnTo>
                <a:lnTo>
                  <a:pt x="418" y="192"/>
                </a:lnTo>
                <a:lnTo>
                  <a:pt x="414" y="211"/>
                </a:lnTo>
                <a:lnTo>
                  <a:pt x="412" y="218"/>
                </a:lnTo>
                <a:lnTo>
                  <a:pt x="409" y="226"/>
                </a:lnTo>
                <a:lnTo>
                  <a:pt x="406" y="234"/>
                </a:lnTo>
                <a:lnTo>
                  <a:pt x="405" y="235"/>
                </a:lnTo>
                <a:lnTo>
                  <a:pt x="404" y="235"/>
                </a:lnTo>
                <a:lnTo>
                  <a:pt x="401" y="238"/>
                </a:lnTo>
                <a:lnTo>
                  <a:pt x="398" y="228"/>
                </a:lnTo>
                <a:lnTo>
                  <a:pt x="393" y="217"/>
                </a:lnTo>
                <a:lnTo>
                  <a:pt x="387" y="203"/>
                </a:lnTo>
                <a:lnTo>
                  <a:pt x="379" y="189"/>
                </a:lnTo>
                <a:lnTo>
                  <a:pt x="361" y="156"/>
                </a:lnTo>
                <a:lnTo>
                  <a:pt x="339" y="121"/>
                </a:lnTo>
                <a:lnTo>
                  <a:pt x="317" y="87"/>
                </a:lnTo>
                <a:lnTo>
                  <a:pt x="293" y="55"/>
                </a:lnTo>
                <a:lnTo>
                  <a:pt x="280" y="41"/>
                </a:lnTo>
                <a:lnTo>
                  <a:pt x="269" y="28"/>
                </a:lnTo>
                <a:lnTo>
                  <a:pt x="258" y="18"/>
                </a:lnTo>
                <a:lnTo>
                  <a:pt x="248" y="10"/>
                </a:lnTo>
                <a:lnTo>
                  <a:pt x="242" y="6"/>
                </a:lnTo>
                <a:lnTo>
                  <a:pt x="241" y="3"/>
                </a:lnTo>
                <a:lnTo>
                  <a:pt x="238" y="2"/>
                </a:lnTo>
                <a:lnTo>
                  <a:pt x="230" y="0"/>
                </a:lnTo>
                <a:lnTo>
                  <a:pt x="230" y="9"/>
                </a:lnTo>
                <a:lnTo>
                  <a:pt x="231" y="17"/>
                </a:lnTo>
                <a:lnTo>
                  <a:pt x="232" y="27"/>
                </a:lnTo>
                <a:lnTo>
                  <a:pt x="234" y="36"/>
                </a:lnTo>
                <a:lnTo>
                  <a:pt x="241" y="57"/>
                </a:lnTo>
                <a:lnTo>
                  <a:pt x="249" y="77"/>
                </a:lnTo>
                <a:lnTo>
                  <a:pt x="268" y="122"/>
                </a:lnTo>
                <a:lnTo>
                  <a:pt x="292" y="168"/>
                </a:lnTo>
                <a:lnTo>
                  <a:pt x="316" y="216"/>
                </a:lnTo>
                <a:lnTo>
                  <a:pt x="337" y="262"/>
                </a:lnTo>
                <a:lnTo>
                  <a:pt x="346" y="285"/>
                </a:lnTo>
                <a:lnTo>
                  <a:pt x="354" y="307"/>
                </a:lnTo>
                <a:lnTo>
                  <a:pt x="358" y="328"/>
                </a:lnTo>
                <a:lnTo>
                  <a:pt x="362" y="348"/>
                </a:lnTo>
                <a:lnTo>
                  <a:pt x="361" y="346"/>
                </a:lnTo>
                <a:lnTo>
                  <a:pt x="360" y="343"/>
                </a:lnTo>
                <a:lnTo>
                  <a:pt x="358" y="342"/>
                </a:lnTo>
                <a:lnTo>
                  <a:pt x="356" y="340"/>
                </a:lnTo>
                <a:lnTo>
                  <a:pt x="341" y="310"/>
                </a:lnTo>
                <a:lnTo>
                  <a:pt x="336" y="297"/>
                </a:lnTo>
                <a:lnTo>
                  <a:pt x="331" y="287"/>
                </a:lnTo>
                <a:lnTo>
                  <a:pt x="327" y="277"/>
                </a:lnTo>
                <a:lnTo>
                  <a:pt x="320" y="266"/>
                </a:lnTo>
                <a:lnTo>
                  <a:pt x="310" y="247"/>
                </a:lnTo>
                <a:lnTo>
                  <a:pt x="297" y="225"/>
                </a:lnTo>
                <a:lnTo>
                  <a:pt x="283" y="200"/>
                </a:lnTo>
                <a:lnTo>
                  <a:pt x="266" y="173"/>
                </a:lnTo>
                <a:lnTo>
                  <a:pt x="248" y="148"/>
                </a:lnTo>
                <a:lnTo>
                  <a:pt x="231" y="125"/>
                </a:lnTo>
                <a:lnTo>
                  <a:pt x="222" y="115"/>
                </a:lnTo>
                <a:lnTo>
                  <a:pt x="213" y="106"/>
                </a:lnTo>
                <a:lnTo>
                  <a:pt x="205" y="99"/>
                </a:lnTo>
                <a:lnTo>
                  <a:pt x="196" y="94"/>
                </a:lnTo>
                <a:lnTo>
                  <a:pt x="186" y="88"/>
                </a:lnTo>
                <a:lnTo>
                  <a:pt x="186" y="89"/>
                </a:lnTo>
                <a:lnTo>
                  <a:pt x="187" y="89"/>
                </a:lnTo>
                <a:lnTo>
                  <a:pt x="186" y="90"/>
                </a:lnTo>
                <a:lnTo>
                  <a:pt x="183" y="89"/>
                </a:lnTo>
                <a:lnTo>
                  <a:pt x="177" y="87"/>
                </a:lnTo>
                <a:lnTo>
                  <a:pt x="172" y="85"/>
                </a:lnTo>
                <a:lnTo>
                  <a:pt x="167" y="83"/>
                </a:lnTo>
                <a:lnTo>
                  <a:pt x="167" y="158"/>
                </a:lnTo>
                <a:lnTo>
                  <a:pt x="170" y="163"/>
                </a:lnTo>
                <a:lnTo>
                  <a:pt x="172" y="167"/>
                </a:lnTo>
                <a:lnTo>
                  <a:pt x="187" y="201"/>
                </a:lnTo>
                <a:lnTo>
                  <a:pt x="204" y="237"/>
                </a:lnTo>
                <a:lnTo>
                  <a:pt x="221" y="275"/>
                </a:lnTo>
                <a:lnTo>
                  <a:pt x="238" y="314"/>
                </a:lnTo>
                <a:lnTo>
                  <a:pt x="253" y="354"/>
                </a:lnTo>
                <a:lnTo>
                  <a:pt x="267" y="392"/>
                </a:lnTo>
                <a:lnTo>
                  <a:pt x="274" y="411"/>
                </a:lnTo>
                <a:lnTo>
                  <a:pt x="279" y="430"/>
                </a:lnTo>
                <a:lnTo>
                  <a:pt x="284" y="449"/>
                </a:lnTo>
                <a:lnTo>
                  <a:pt x="287" y="467"/>
                </a:lnTo>
                <a:close/>
                <a:moveTo>
                  <a:pt x="1105" y="475"/>
                </a:moveTo>
                <a:lnTo>
                  <a:pt x="1089" y="477"/>
                </a:lnTo>
                <a:lnTo>
                  <a:pt x="1074" y="479"/>
                </a:lnTo>
                <a:lnTo>
                  <a:pt x="1059" y="480"/>
                </a:lnTo>
                <a:lnTo>
                  <a:pt x="1043" y="482"/>
                </a:lnTo>
                <a:lnTo>
                  <a:pt x="1042" y="462"/>
                </a:lnTo>
                <a:lnTo>
                  <a:pt x="1041" y="444"/>
                </a:lnTo>
                <a:lnTo>
                  <a:pt x="1039" y="427"/>
                </a:lnTo>
                <a:lnTo>
                  <a:pt x="1036" y="410"/>
                </a:lnTo>
                <a:lnTo>
                  <a:pt x="1030" y="378"/>
                </a:lnTo>
                <a:lnTo>
                  <a:pt x="1022" y="346"/>
                </a:lnTo>
                <a:lnTo>
                  <a:pt x="1016" y="328"/>
                </a:lnTo>
                <a:lnTo>
                  <a:pt x="1010" y="313"/>
                </a:lnTo>
                <a:lnTo>
                  <a:pt x="1002" y="298"/>
                </a:lnTo>
                <a:lnTo>
                  <a:pt x="995" y="281"/>
                </a:lnTo>
                <a:lnTo>
                  <a:pt x="987" y="267"/>
                </a:lnTo>
                <a:lnTo>
                  <a:pt x="979" y="253"/>
                </a:lnTo>
                <a:lnTo>
                  <a:pt x="978" y="245"/>
                </a:lnTo>
                <a:lnTo>
                  <a:pt x="978" y="241"/>
                </a:lnTo>
                <a:lnTo>
                  <a:pt x="980" y="234"/>
                </a:lnTo>
                <a:lnTo>
                  <a:pt x="980" y="220"/>
                </a:lnTo>
                <a:lnTo>
                  <a:pt x="993" y="228"/>
                </a:lnTo>
                <a:lnTo>
                  <a:pt x="1006" y="238"/>
                </a:lnTo>
                <a:lnTo>
                  <a:pt x="1018" y="251"/>
                </a:lnTo>
                <a:lnTo>
                  <a:pt x="1030" y="264"/>
                </a:lnTo>
                <a:lnTo>
                  <a:pt x="1040" y="279"/>
                </a:lnTo>
                <a:lnTo>
                  <a:pt x="1050" y="295"/>
                </a:lnTo>
                <a:lnTo>
                  <a:pt x="1059" y="312"/>
                </a:lnTo>
                <a:lnTo>
                  <a:pt x="1067" y="329"/>
                </a:lnTo>
                <a:lnTo>
                  <a:pt x="1075" y="347"/>
                </a:lnTo>
                <a:lnTo>
                  <a:pt x="1082" y="365"/>
                </a:lnTo>
                <a:lnTo>
                  <a:pt x="1087" y="384"/>
                </a:lnTo>
                <a:lnTo>
                  <a:pt x="1093" y="402"/>
                </a:lnTo>
                <a:lnTo>
                  <a:pt x="1097" y="421"/>
                </a:lnTo>
                <a:lnTo>
                  <a:pt x="1101" y="439"/>
                </a:lnTo>
                <a:lnTo>
                  <a:pt x="1103" y="458"/>
                </a:lnTo>
                <a:lnTo>
                  <a:pt x="1105" y="475"/>
                </a:lnTo>
                <a:close/>
                <a:moveTo>
                  <a:pt x="551" y="495"/>
                </a:moveTo>
                <a:lnTo>
                  <a:pt x="551" y="495"/>
                </a:lnTo>
                <a:lnTo>
                  <a:pt x="546" y="481"/>
                </a:lnTo>
                <a:lnTo>
                  <a:pt x="544" y="470"/>
                </a:lnTo>
                <a:lnTo>
                  <a:pt x="544" y="463"/>
                </a:lnTo>
                <a:lnTo>
                  <a:pt x="544" y="456"/>
                </a:lnTo>
                <a:lnTo>
                  <a:pt x="546" y="449"/>
                </a:lnTo>
                <a:lnTo>
                  <a:pt x="549" y="439"/>
                </a:lnTo>
                <a:lnTo>
                  <a:pt x="551" y="436"/>
                </a:lnTo>
                <a:lnTo>
                  <a:pt x="551" y="434"/>
                </a:lnTo>
                <a:lnTo>
                  <a:pt x="552" y="432"/>
                </a:lnTo>
                <a:lnTo>
                  <a:pt x="553" y="429"/>
                </a:lnTo>
                <a:lnTo>
                  <a:pt x="558" y="421"/>
                </a:lnTo>
                <a:lnTo>
                  <a:pt x="564" y="438"/>
                </a:lnTo>
                <a:lnTo>
                  <a:pt x="572" y="459"/>
                </a:lnTo>
                <a:lnTo>
                  <a:pt x="581" y="479"/>
                </a:lnTo>
                <a:lnTo>
                  <a:pt x="589" y="495"/>
                </a:lnTo>
                <a:lnTo>
                  <a:pt x="551" y="495"/>
                </a:lnTo>
                <a:close/>
                <a:moveTo>
                  <a:pt x="918" y="183"/>
                </a:moveTo>
                <a:lnTo>
                  <a:pt x="938" y="185"/>
                </a:lnTo>
                <a:lnTo>
                  <a:pt x="950" y="195"/>
                </a:lnTo>
                <a:lnTo>
                  <a:pt x="955" y="199"/>
                </a:lnTo>
                <a:lnTo>
                  <a:pt x="956" y="202"/>
                </a:lnTo>
                <a:lnTo>
                  <a:pt x="957" y="214"/>
                </a:lnTo>
                <a:lnTo>
                  <a:pt x="918" y="183"/>
                </a:lnTo>
                <a:close/>
                <a:moveTo>
                  <a:pt x="816" y="153"/>
                </a:moveTo>
                <a:lnTo>
                  <a:pt x="838" y="171"/>
                </a:lnTo>
                <a:lnTo>
                  <a:pt x="858" y="191"/>
                </a:lnTo>
                <a:lnTo>
                  <a:pt x="866" y="201"/>
                </a:lnTo>
                <a:lnTo>
                  <a:pt x="873" y="214"/>
                </a:lnTo>
                <a:lnTo>
                  <a:pt x="875" y="220"/>
                </a:lnTo>
                <a:lnTo>
                  <a:pt x="877" y="228"/>
                </a:lnTo>
                <a:lnTo>
                  <a:pt x="878" y="236"/>
                </a:lnTo>
                <a:lnTo>
                  <a:pt x="878" y="244"/>
                </a:lnTo>
                <a:lnTo>
                  <a:pt x="868" y="238"/>
                </a:lnTo>
                <a:lnTo>
                  <a:pt x="860" y="233"/>
                </a:lnTo>
                <a:lnTo>
                  <a:pt x="852" y="227"/>
                </a:lnTo>
                <a:lnTo>
                  <a:pt x="845" y="220"/>
                </a:lnTo>
                <a:lnTo>
                  <a:pt x="840" y="215"/>
                </a:lnTo>
                <a:lnTo>
                  <a:pt x="835" y="209"/>
                </a:lnTo>
                <a:lnTo>
                  <a:pt x="832" y="202"/>
                </a:lnTo>
                <a:lnTo>
                  <a:pt x="828" y="197"/>
                </a:lnTo>
                <a:lnTo>
                  <a:pt x="821" y="174"/>
                </a:lnTo>
                <a:lnTo>
                  <a:pt x="816" y="153"/>
                </a:lnTo>
                <a:close/>
                <a:moveTo>
                  <a:pt x="832" y="287"/>
                </a:moveTo>
                <a:lnTo>
                  <a:pt x="839" y="294"/>
                </a:lnTo>
                <a:lnTo>
                  <a:pt x="849" y="308"/>
                </a:lnTo>
                <a:lnTo>
                  <a:pt x="857" y="322"/>
                </a:lnTo>
                <a:lnTo>
                  <a:pt x="863" y="333"/>
                </a:lnTo>
                <a:lnTo>
                  <a:pt x="869" y="343"/>
                </a:lnTo>
                <a:lnTo>
                  <a:pt x="873" y="354"/>
                </a:lnTo>
                <a:lnTo>
                  <a:pt x="875" y="362"/>
                </a:lnTo>
                <a:lnTo>
                  <a:pt x="877" y="369"/>
                </a:lnTo>
                <a:lnTo>
                  <a:pt x="877" y="376"/>
                </a:lnTo>
                <a:lnTo>
                  <a:pt x="875" y="401"/>
                </a:lnTo>
                <a:lnTo>
                  <a:pt x="871" y="427"/>
                </a:lnTo>
                <a:lnTo>
                  <a:pt x="856" y="427"/>
                </a:lnTo>
                <a:lnTo>
                  <a:pt x="854" y="408"/>
                </a:lnTo>
                <a:lnTo>
                  <a:pt x="851" y="390"/>
                </a:lnTo>
                <a:lnTo>
                  <a:pt x="848" y="374"/>
                </a:lnTo>
                <a:lnTo>
                  <a:pt x="843" y="359"/>
                </a:lnTo>
                <a:lnTo>
                  <a:pt x="839" y="343"/>
                </a:lnTo>
                <a:lnTo>
                  <a:pt x="835" y="328"/>
                </a:lnTo>
                <a:lnTo>
                  <a:pt x="833" y="308"/>
                </a:lnTo>
                <a:lnTo>
                  <a:pt x="832" y="287"/>
                </a:lnTo>
                <a:close/>
                <a:moveTo>
                  <a:pt x="362" y="360"/>
                </a:moveTo>
                <a:lnTo>
                  <a:pt x="363" y="356"/>
                </a:lnTo>
                <a:lnTo>
                  <a:pt x="364" y="354"/>
                </a:lnTo>
                <a:lnTo>
                  <a:pt x="366" y="353"/>
                </a:lnTo>
                <a:lnTo>
                  <a:pt x="367" y="354"/>
                </a:lnTo>
                <a:lnTo>
                  <a:pt x="369" y="356"/>
                </a:lnTo>
                <a:lnTo>
                  <a:pt x="370" y="357"/>
                </a:lnTo>
                <a:lnTo>
                  <a:pt x="369" y="359"/>
                </a:lnTo>
                <a:lnTo>
                  <a:pt x="367" y="360"/>
                </a:lnTo>
                <a:lnTo>
                  <a:pt x="366" y="363"/>
                </a:lnTo>
                <a:lnTo>
                  <a:pt x="364" y="366"/>
                </a:lnTo>
                <a:lnTo>
                  <a:pt x="364" y="367"/>
                </a:lnTo>
                <a:lnTo>
                  <a:pt x="363" y="367"/>
                </a:lnTo>
                <a:lnTo>
                  <a:pt x="363" y="365"/>
                </a:lnTo>
                <a:lnTo>
                  <a:pt x="362" y="36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1218987"/>
            <a:endParaRPr lang="en-US" sz="2400">
              <a:solidFill>
                <a:prstClr val="black"/>
              </a:solidFill>
              <a:latin typeface="Calibri"/>
            </a:endParaRPr>
          </a:p>
        </p:txBody>
      </p:sp>
      <p:grpSp>
        <p:nvGrpSpPr>
          <p:cNvPr id="36" name="Group 35"/>
          <p:cNvGrpSpPr/>
          <p:nvPr/>
        </p:nvGrpSpPr>
        <p:grpSpPr>
          <a:xfrm>
            <a:off x="-4181466" y="1092074"/>
            <a:ext cx="10149646" cy="2976932"/>
            <a:chOff x="1365250" y="1958975"/>
            <a:chExt cx="9566275" cy="2809876"/>
          </a:xfrm>
          <a:solidFill>
            <a:schemeClr val="accent6">
              <a:lumMod val="50000"/>
            </a:schemeClr>
          </a:solidFill>
        </p:grpSpPr>
        <p:sp>
          <p:nvSpPr>
            <p:cNvPr id="10" name="Freeform 8"/>
            <p:cNvSpPr>
              <a:spLocks/>
            </p:cNvSpPr>
            <p:nvPr/>
          </p:nvSpPr>
          <p:spPr bwMode="auto">
            <a:xfrm>
              <a:off x="1365250" y="1958975"/>
              <a:ext cx="9566275" cy="2803525"/>
            </a:xfrm>
            <a:custGeom>
              <a:avLst/>
              <a:gdLst>
                <a:gd name="T0" fmla="*/ 9268 w 18078"/>
                <a:gd name="T1" fmla="*/ 801 h 5299"/>
                <a:gd name="T2" fmla="*/ 10396 w 18078"/>
                <a:gd name="T3" fmla="*/ 2122 h 5299"/>
                <a:gd name="T4" fmla="*/ 11011 w 18078"/>
                <a:gd name="T5" fmla="*/ 3171 h 5299"/>
                <a:gd name="T6" fmla="*/ 12640 w 18078"/>
                <a:gd name="T7" fmla="*/ 4878 h 5299"/>
                <a:gd name="T8" fmla="*/ 13197 w 18078"/>
                <a:gd name="T9" fmla="*/ 5210 h 5299"/>
                <a:gd name="T10" fmla="*/ 12248 w 18078"/>
                <a:gd name="T11" fmla="*/ 4117 h 5299"/>
                <a:gd name="T12" fmla="*/ 11830 w 18078"/>
                <a:gd name="T13" fmla="*/ 2749 h 5299"/>
                <a:gd name="T14" fmla="*/ 12362 w 18078"/>
                <a:gd name="T15" fmla="*/ 2238 h 5299"/>
                <a:gd name="T16" fmla="*/ 12838 w 18078"/>
                <a:gd name="T17" fmla="*/ 2399 h 5299"/>
                <a:gd name="T18" fmla="*/ 13608 w 18078"/>
                <a:gd name="T19" fmla="*/ 2974 h 5299"/>
                <a:gd name="T20" fmla="*/ 14409 w 18078"/>
                <a:gd name="T21" fmla="*/ 3595 h 5299"/>
                <a:gd name="T22" fmla="*/ 15520 w 18078"/>
                <a:gd name="T23" fmla="*/ 4269 h 5299"/>
                <a:gd name="T24" fmla="*/ 15018 w 18078"/>
                <a:gd name="T25" fmla="*/ 3733 h 5299"/>
                <a:gd name="T26" fmla="*/ 14033 w 18078"/>
                <a:gd name="T27" fmla="*/ 3168 h 5299"/>
                <a:gd name="T28" fmla="*/ 14179 w 18078"/>
                <a:gd name="T29" fmla="*/ 2545 h 5299"/>
                <a:gd name="T30" fmla="*/ 14687 w 18078"/>
                <a:gd name="T31" fmla="*/ 1929 h 5299"/>
                <a:gd name="T32" fmla="*/ 15575 w 18078"/>
                <a:gd name="T33" fmla="*/ 2459 h 5299"/>
                <a:gd name="T34" fmla="*/ 16272 w 18078"/>
                <a:gd name="T35" fmla="*/ 2848 h 5299"/>
                <a:gd name="T36" fmla="*/ 17623 w 18078"/>
                <a:gd name="T37" fmla="*/ 3882 h 5299"/>
                <a:gd name="T38" fmla="*/ 17629 w 18078"/>
                <a:gd name="T39" fmla="*/ 3661 h 5299"/>
                <a:gd name="T40" fmla="*/ 16591 w 18078"/>
                <a:gd name="T41" fmla="*/ 2309 h 5299"/>
                <a:gd name="T42" fmla="*/ 15686 w 18078"/>
                <a:gd name="T43" fmla="*/ 2335 h 5299"/>
                <a:gd name="T44" fmla="*/ 14915 w 18078"/>
                <a:gd name="T45" fmla="*/ 1543 h 5299"/>
                <a:gd name="T46" fmla="*/ 14081 w 18078"/>
                <a:gd name="T47" fmla="*/ 2323 h 5299"/>
                <a:gd name="T48" fmla="*/ 12843 w 18078"/>
                <a:gd name="T49" fmla="*/ 2214 h 5299"/>
                <a:gd name="T50" fmla="*/ 12320 w 18078"/>
                <a:gd name="T51" fmla="*/ 1984 h 5299"/>
                <a:gd name="T52" fmla="*/ 11782 w 18078"/>
                <a:gd name="T53" fmla="*/ 2373 h 5299"/>
                <a:gd name="T54" fmla="*/ 10963 w 18078"/>
                <a:gd name="T55" fmla="*/ 2697 h 5299"/>
                <a:gd name="T56" fmla="*/ 10291 w 18078"/>
                <a:gd name="T57" fmla="*/ 1794 h 5299"/>
                <a:gd name="T58" fmla="*/ 9176 w 18078"/>
                <a:gd name="T59" fmla="*/ 416 h 5299"/>
                <a:gd name="T60" fmla="*/ 8745 w 18078"/>
                <a:gd name="T61" fmla="*/ 64 h 5299"/>
                <a:gd name="T62" fmla="*/ 7579 w 18078"/>
                <a:gd name="T63" fmla="*/ 2008 h 5299"/>
                <a:gd name="T64" fmla="*/ 6280 w 18078"/>
                <a:gd name="T65" fmla="*/ 1847 h 5299"/>
                <a:gd name="T66" fmla="*/ 5534 w 18078"/>
                <a:gd name="T67" fmla="*/ 1368 h 5299"/>
                <a:gd name="T68" fmla="*/ 4417 w 18078"/>
                <a:gd name="T69" fmla="*/ 2381 h 5299"/>
                <a:gd name="T70" fmla="*/ 3450 w 18078"/>
                <a:gd name="T71" fmla="*/ 1326 h 5299"/>
                <a:gd name="T72" fmla="*/ 2846 w 18078"/>
                <a:gd name="T73" fmla="*/ 1570 h 5299"/>
                <a:gd name="T74" fmla="*/ 2145 w 18078"/>
                <a:gd name="T75" fmla="*/ 2076 h 5299"/>
                <a:gd name="T76" fmla="*/ 1426 w 18078"/>
                <a:gd name="T77" fmla="*/ 2668 h 5299"/>
                <a:gd name="T78" fmla="*/ 95 w 18078"/>
                <a:gd name="T79" fmla="*/ 3577 h 5299"/>
                <a:gd name="T80" fmla="*/ 982 w 18078"/>
                <a:gd name="T81" fmla="*/ 3034 h 5299"/>
                <a:gd name="T82" fmla="*/ 1682 w 18078"/>
                <a:gd name="T83" fmla="*/ 2776 h 5299"/>
                <a:gd name="T84" fmla="*/ 2339 w 18078"/>
                <a:gd name="T85" fmla="*/ 2348 h 5299"/>
                <a:gd name="T86" fmla="*/ 2964 w 18078"/>
                <a:gd name="T87" fmla="*/ 1676 h 5299"/>
                <a:gd name="T88" fmla="*/ 3431 w 18078"/>
                <a:gd name="T89" fmla="*/ 1595 h 5299"/>
                <a:gd name="T90" fmla="*/ 3170 w 18078"/>
                <a:gd name="T91" fmla="*/ 3162 h 5299"/>
                <a:gd name="T92" fmla="*/ 3137 w 18078"/>
                <a:gd name="T93" fmla="*/ 3477 h 5299"/>
                <a:gd name="T94" fmla="*/ 4308 w 18078"/>
                <a:gd name="T95" fmla="*/ 2609 h 5299"/>
                <a:gd name="T96" fmla="*/ 5353 w 18078"/>
                <a:gd name="T97" fmla="*/ 1848 h 5299"/>
                <a:gd name="T98" fmla="*/ 6071 w 18078"/>
                <a:gd name="T99" fmla="*/ 1913 h 5299"/>
                <a:gd name="T100" fmla="*/ 6752 w 18078"/>
                <a:gd name="T101" fmla="*/ 2536 h 5299"/>
                <a:gd name="T102" fmla="*/ 6334 w 18078"/>
                <a:gd name="T103" fmla="*/ 2676 h 5299"/>
                <a:gd name="T104" fmla="*/ 5531 w 18078"/>
                <a:gd name="T105" fmla="*/ 1995 h 5299"/>
                <a:gd name="T106" fmla="*/ 4961 w 18078"/>
                <a:gd name="T107" fmla="*/ 2585 h 5299"/>
                <a:gd name="T108" fmla="*/ 5554 w 18078"/>
                <a:gd name="T109" fmla="*/ 2515 h 5299"/>
                <a:gd name="T110" fmla="*/ 5991 w 18078"/>
                <a:gd name="T111" fmla="*/ 2757 h 5299"/>
                <a:gd name="T112" fmla="*/ 5515 w 18078"/>
                <a:gd name="T113" fmla="*/ 4159 h 5299"/>
                <a:gd name="T114" fmla="*/ 4916 w 18078"/>
                <a:gd name="T115" fmla="*/ 5054 h 5299"/>
                <a:gd name="T116" fmla="*/ 5609 w 18078"/>
                <a:gd name="T117" fmla="*/ 4286 h 5299"/>
                <a:gd name="T118" fmla="*/ 7201 w 18078"/>
                <a:gd name="T119" fmla="*/ 2572 h 5299"/>
                <a:gd name="T120" fmla="*/ 8430 w 18078"/>
                <a:gd name="T121" fmla="*/ 973 h 5299"/>
                <a:gd name="T122" fmla="*/ 8847 w 18078"/>
                <a:gd name="T123" fmla="*/ 189 h 5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78" h="5299">
                  <a:moveTo>
                    <a:pt x="8928" y="424"/>
                  </a:moveTo>
                  <a:lnTo>
                    <a:pt x="8945" y="444"/>
                  </a:lnTo>
                  <a:lnTo>
                    <a:pt x="8961" y="463"/>
                  </a:lnTo>
                  <a:lnTo>
                    <a:pt x="8975" y="483"/>
                  </a:lnTo>
                  <a:lnTo>
                    <a:pt x="8987" y="505"/>
                  </a:lnTo>
                  <a:lnTo>
                    <a:pt x="8999" y="527"/>
                  </a:lnTo>
                  <a:lnTo>
                    <a:pt x="9010" y="550"/>
                  </a:lnTo>
                  <a:lnTo>
                    <a:pt x="9020" y="572"/>
                  </a:lnTo>
                  <a:lnTo>
                    <a:pt x="9029" y="595"/>
                  </a:lnTo>
                  <a:lnTo>
                    <a:pt x="9047" y="638"/>
                  </a:lnTo>
                  <a:lnTo>
                    <a:pt x="9066" y="679"/>
                  </a:lnTo>
                  <a:lnTo>
                    <a:pt x="9075" y="697"/>
                  </a:lnTo>
                  <a:lnTo>
                    <a:pt x="9086" y="712"/>
                  </a:lnTo>
                  <a:lnTo>
                    <a:pt x="9098" y="727"/>
                  </a:lnTo>
                  <a:lnTo>
                    <a:pt x="9110" y="740"/>
                  </a:lnTo>
                  <a:lnTo>
                    <a:pt x="9125" y="751"/>
                  </a:lnTo>
                  <a:lnTo>
                    <a:pt x="9137" y="760"/>
                  </a:lnTo>
                  <a:lnTo>
                    <a:pt x="9149" y="767"/>
                  </a:lnTo>
                  <a:lnTo>
                    <a:pt x="9160" y="772"/>
                  </a:lnTo>
                  <a:lnTo>
                    <a:pt x="9170" y="775"/>
                  </a:lnTo>
                  <a:lnTo>
                    <a:pt x="9179" y="777"/>
                  </a:lnTo>
                  <a:lnTo>
                    <a:pt x="9188" y="779"/>
                  </a:lnTo>
                  <a:lnTo>
                    <a:pt x="9198" y="780"/>
                  </a:lnTo>
                  <a:lnTo>
                    <a:pt x="9207" y="781"/>
                  </a:lnTo>
                  <a:lnTo>
                    <a:pt x="9218" y="782"/>
                  </a:lnTo>
                  <a:lnTo>
                    <a:pt x="9229" y="785"/>
                  </a:lnTo>
                  <a:lnTo>
                    <a:pt x="9241" y="788"/>
                  </a:lnTo>
                  <a:lnTo>
                    <a:pt x="9254" y="794"/>
                  </a:lnTo>
                  <a:lnTo>
                    <a:pt x="9268" y="801"/>
                  </a:lnTo>
                  <a:lnTo>
                    <a:pt x="9285" y="810"/>
                  </a:lnTo>
                  <a:lnTo>
                    <a:pt x="9305" y="821"/>
                  </a:lnTo>
                  <a:lnTo>
                    <a:pt x="9314" y="828"/>
                  </a:lnTo>
                  <a:lnTo>
                    <a:pt x="9324" y="836"/>
                  </a:lnTo>
                  <a:lnTo>
                    <a:pt x="9333" y="845"/>
                  </a:lnTo>
                  <a:lnTo>
                    <a:pt x="9343" y="854"/>
                  </a:lnTo>
                  <a:lnTo>
                    <a:pt x="9362" y="874"/>
                  </a:lnTo>
                  <a:lnTo>
                    <a:pt x="9380" y="894"/>
                  </a:lnTo>
                  <a:lnTo>
                    <a:pt x="9415" y="938"/>
                  </a:lnTo>
                  <a:lnTo>
                    <a:pt x="9448" y="980"/>
                  </a:lnTo>
                  <a:lnTo>
                    <a:pt x="9515" y="1064"/>
                  </a:lnTo>
                  <a:lnTo>
                    <a:pt x="9578" y="1146"/>
                  </a:lnTo>
                  <a:lnTo>
                    <a:pt x="9640" y="1229"/>
                  </a:lnTo>
                  <a:lnTo>
                    <a:pt x="9700" y="1310"/>
                  </a:lnTo>
                  <a:lnTo>
                    <a:pt x="9761" y="1391"/>
                  </a:lnTo>
                  <a:lnTo>
                    <a:pt x="9822" y="1472"/>
                  </a:lnTo>
                  <a:lnTo>
                    <a:pt x="9884" y="1554"/>
                  </a:lnTo>
                  <a:lnTo>
                    <a:pt x="9950" y="1635"/>
                  </a:lnTo>
                  <a:lnTo>
                    <a:pt x="10020" y="1722"/>
                  </a:lnTo>
                  <a:lnTo>
                    <a:pt x="10088" y="1803"/>
                  </a:lnTo>
                  <a:lnTo>
                    <a:pt x="10120" y="1841"/>
                  </a:lnTo>
                  <a:lnTo>
                    <a:pt x="10154" y="1878"/>
                  </a:lnTo>
                  <a:lnTo>
                    <a:pt x="10187" y="1914"/>
                  </a:lnTo>
                  <a:lnTo>
                    <a:pt x="10221" y="1949"/>
                  </a:lnTo>
                  <a:lnTo>
                    <a:pt x="10254" y="1984"/>
                  </a:lnTo>
                  <a:lnTo>
                    <a:pt x="10289" y="2019"/>
                  </a:lnTo>
                  <a:lnTo>
                    <a:pt x="10324" y="2053"/>
                  </a:lnTo>
                  <a:lnTo>
                    <a:pt x="10359" y="2087"/>
                  </a:lnTo>
                  <a:lnTo>
                    <a:pt x="10396" y="2122"/>
                  </a:lnTo>
                  <a:lnTo>
                    <a:pt x="10434" y="2156"/>
                  </a:lnTo>
                  <a:lnTo>
                    <a:pt x="10474" y="2191"/>
                  </a:lnTo>
                  <a:lnTo>
                    <a:pt x="10516" y="2227"/>
                  </a:lnTo>
                  <a:lnTo>
                    <a:pt x="10550" y="2258"/>
                  </a:lnTo>
                  <a:lnTo>
                    <a:pt x="10579" y="2288"/>
                  </a:lnTo>
                  <a:lnTo>
                    <a:pt x="10604" y="2318"/>
                  </a:lnTo>
                  <a:lnTo>
                    <a:pt x="10624" y="2346"/>
                  </a:lnTo>
                  <a:lnTo>
                    <a:pt x="10642" y="2374"/>
                  </a:lnTo>
                  <a:lnTo>
                    <a:pt x="10657" y="2402"/>
                  </a:lnTo>
                  <a:lnTo>
                    <a:pt x="10668" y="2430"/>
                  </a:lnTo>
                  <a:lnTo>
                    <a:pt x="10678" y="2458"/>
                  </a:lnTo>
                  <a:lnTo>
                    <a:pt x="10686" y="2486"/>
                  </a:lnTo>
                  <a:lnTo>
                    <a:pt x="10693" y="2515"/>
                  </a:lnTo>
                  <a:lnTo>
                    <a:pt x="10700" y="2545"/>
                  </a:lnTo>
                  <a:lnTo>
                    <a:pt x="10706" y="2574"/>
                  </a:lnTo>
                  <a:lnTo>
                    <a:pt x="10711" y="2606"/>
                  </a:lnTo>
                  <a:lnTo>
                    <a:pt x="10718" y="2637"/>
                  </a:lnTo>
                  <a:lnTo>
                    <a:pt x="10726" y="2671"/>
                  </a:lnTo>
                  <a:lnTo>
                    <a:pt x="10735" y="2705"/>
                  </a:lnTo>
                  <a:lnTo>
                    <a:pt x="10746" y="2742"/>
                  </a:lnTo>
                  <a:lnTo>
                    <a:pt x="10760" y="2781"/>
                  </a:lnTo>
                  <a:lnTo>
                    <a:pt x="10777" y="2820"/>
                  </a:lnTo>
                  <a:lnTo>
                    <a:pt x="10796" y="2862"/>
                  </a:lnTo>
                  <a:lnTo>
                    <a:pt x="10820" y="2907"/>
                  </a:lnTo>
                  <a:lnTo>
                    <a:pt x="10848" y="2955"/>
                  </a:lnTo>
                  <a:lnTo>
                    <a:pt x="10881" y="3003"/>
                  </a:lnTo>
                  <a:lnTo>
                    <a:pt x="10918" y="3057"/>
                  </a:lnTo>
                  <a:lnTo>
                    <a:pt x="10962" y="3112"/>
                  </a:lnTo>
                  <a:lnTo>
                    <a:pt x="11011" y="3171"/>
                  </a:lnTo>
                  <a:lnTo>
                    <a:pt x="11067" y="3232"/>
                  </a:lnTo>
                  <a:lnTo>
                    <a:pt x="11130" y="3297"/>
                  </a:lnTo>
                  <a:lnTo>
                    <a:pt x="11200" y="3366"/>
                  </a:lnTo>
                  <a:lnTo>
                    <a:pt x="11278" y="3438"/>
                  </a:lnTo>
                  <a:lnTo>
                    <a:pt x="11365" y="3515"/>
                  </a:lnTo>
                  <a:lnTo>
                    <a:pt x="11461" y="3597"/>
                  </a:lnTo>
                  <a:lnTo>
                    <a:pt x="11499" y="3629"/>
                  </a:lnTo>
                  <a:lnTo>
                    <a:pt x="11532" y="3661"/>
                  </a:lnTo>
                  <a:lnTo>
                    <a:pt x="11565" y="3694"/>
                  </a:lnTo>
                  <a:lnTo>
                    <a:pt x="11603" y="3730"/>
                  </a:lnTo>
                  <a:lnTo>
                    <a:pt x="11703" y="3821"/>
                  </a:lnTo>
                  <a:lnTo>
                    <a:pt x="11788" y="3896"/>
                  </a:lnTo>
                  <a:lnTo>
                    <a:pt x="11858" y="3957"/>
                  </a:lnTo>
                  <a:lnTo>
                    <a:pt x="11917" y="4007"/>
                  </a:lnTo>
                  <a:lnTo>
                    <a:pt x="11965" y="4047"/>
                  </a:lnTo>
                  <a:lnTo>
                    <a:pt x="12008" y="4083"/>
                  </a:lnTo>
                  <a:lnTo>
                    <a:pt x="12047" y="4117"/>
                  </a:lnTo>
                  <a:lnTo>
                    <a:pt x="12082" y="4151"/>
                  </a:lnTo>
                  <a:lnTo>
                    <a:pt x="12100" y="4169"/>
                  </a:lnTo>
                  <a:lnTo>
                    <a:pt x="12118" y="4188"/>
                  </a:lnTo>
                  <a:lnTo>
                    <a:pt x="12137" y="4210"/>
                  </a:lnTo>
                  <a:lnTo>
                    <a:pt x="12157" y="4233"/>
                  </a:lnTo>
                  <a:lnTo>
                    <a:pt x="12202" y="4286"/>
                  </a:lnTo>
                  <a:lnTo>
                    <a:pt x="12252" y="4351"/>
                  </a:lnTo>
                  <a:lnTo>
                    <a:pt x="12313" y="4431"/>
                  </a:lnTo>
                  <a:lnTo>
                    <a:pt x="12387" y="4530"/>
                  </a:lnTo>
                  <a:lnTo>
                    <a:pt x="12475" y="4649"/>
                  </a:lnTo>
                  <a:lnTo>
                    <a:pt x="12579" y="4793"/>
                  </a:lnTo>
                  <a:lnTo>
                    <a:pt x="12640" y="4878"/>
                  </a:lnTo>
                  <a:lnTo>
                    <a:pt x="12701" y="4963"/>
                  </a:lnTo>
                  <a:lnTo>
                    <a:pt x="12733" y="5006"/>
                  </a:lnTo>
                  <a:lnTo>
                    <a:pt x="12765" y="5047"/>
                  </a:lnTo>
                  <a:lnTo>
                    <a:pt x="12782" y="5066"/>
                  </a:lnTo>
                  <a:lnTo>
                    <a:pt x="12799" y="5087"/>
                  </a:lnTo>
                  <a:lnTo>
                    <a:pt x="12817" y="5105"/>
                  </a:lnTo>
                  <a:lnTo>
                    <a:pt x="12835" y="5124"/>
                  </a:lnTo>
                  <a:lnTo>
                    <a:pt x="12855" y="5141"/>
                  </a:lnTo>
                  <a:lnTo>
                    <a:pt x="12874" y="5158"/>
                  </a:lnTo>
                  <a:lnTo>
                    <a:pt x="12894" y="5175"/>
                  </a:lnTo>
                  <a:lnTo>
                    <a:pt x="12916" y="5191"/>
                  </a:lnTo>
                  <a:lnTo>
                    <a:pt x="12937" y="5205"/>
                  </a:lnTo>
                  <a:lnTo>
                    <a:pt x="12960" y="5219"/>
                  </a:lnTo>
                  <a:lnTo>
                    <a:pt x="12983" y="5232"/>
                  </a:lnTo>
                  <a:lnTo>
                    <a:pt x="13007" y="5244"/>
                  </a:lnTo>
                  <a:lnTo>
                    <a:pt x="13033" y="5255"/>
                  </a:lnTo>
                  <a:lnTo>
                    <a:pt x="13059" y="5265"/>
                  </a:lnTo>
                  <a:lnTo>
                    <a:pt x="13087" y="5274"/>
                  </a:lnTo>
                  <a:lnTo>
                    <a:pt x="13116" y="5281"/>
                  </a:lnTo>
                  <a:lnTo>
                    <a:pt x="13145" y="5288"/>
                  </a:lnTo>
                  <a:lnTo>
                    <a:pt x="13177" y="5293"/>
                  </a:lnTo>
                  <a:lnTo>
                    <a:pt x="13208" y="5297"/>
                  </a:lnTo>
                  <a:lnTo>
                    <a:pt x="13242" y="5299"/>
                  </a:lnTo>
                  <a:lnTo>
                    <a:pt x="13238" y="5283"/>
                  </a:lnTo>
                  <a:lnTo>
                    <a:pt x="13232" y="5267"/>
                  </a:lnTo>
                  <a:lnTo>
                    <a:pt x="13224" y="5252"/>
                  </a:lnTo>
                  <a:lnTo>
                    <a:pt x="13216" y="5237"/>
                  </a:lnTo>
                  <a:lnTo>
                    <a:pt x="13207" y="5223"/>
                  </a:lnTo>
                  <a:lnTo>
                    <a:pt x="13197" y="5210"/>
                  </a:lnTo>
                  <a:lnTo>
                    <a:pt x="13187" y="5196"/>
                  </a:lnTo>
                  <a:lnTo>
                    <a:pt x="13174" y="5184"/>
                  </a:lnTo>
                  <a:lnTo>
                    <a:pt x="13162" y="5170"/>
                  </a:lnTo>
                  <a:lnTo>
                    <a:pt x="13148" y="5158"/>
                  </a:lnTo>
                  <a:lnTo>
                    <a:pt x="13134" y="5146"/>
                  </a:lnTo>
                  <a:lnTo>
                    <a:pt x="13118" y="5134"/>
                  </a:lnTo>
                  <a:lnTo>
                    <a:pt x="13086" y="5109"/>
                  </a:lnTo>
                  <a:lnTo>
                    <a:pt x="13051" y="5084"/>
                  </a:lnTo>
                  <a:lnTo>
                    <a:pt x="13014" y="5058"/>
                  </a:lnTo>
                  <a:lnTo>
                    <a:pt x="12975" y="5031"/>
                  </a:lnTo>
                  <a:lnTo>
                    <a:pt x="12935" y="5003"/>
                  </a:lnTo>
                  <a:lnTo>
                    <a:pt x="12893" y="4971"/>
                  </a:lnTo>
                  <a:lnTo>
                    <a:pt x="12851" y="4937"/>
                  </a:lnTo>
                  <a:lnTo>
                    <a:pt x="12808" y="4900"/>
                  </a:lnTo>
                  <a:lnTo>
                    <a:pt x="12787" y="4881"/>
                  </a:lnTo>
                  <a:lnTo>
                    <a:pt x="12765" y="4860"/>
                  </a:lnTo>
                  <a:lnTo>
                    <a:pt x="12744" y="4838"/>
                  </a:lnTo>
                  <a:lnTo>
                    <a:pt x="12722" y="4815"/>
                  </a:lnTo>
                  <a:lnTo>
                    <a:pt x="12699" y="4789"/>
                  </a:lnTo>
                  <a:lnTo>
                    <a:pt x="12676" y="4760"/>
                  </a:lnTo>
                  <a:lnTo>
                    <a:pt x="12651" y="4730"/>
                  </a:lnTo>
                  <a:lnTo>
                    <a:pt x="12626" y="4696"/>
                  </a:lnTo>
                  <a:lnTo>
                    <a:pt x="12576" y="4625"/>
                  </a:lnTo>
                  <a:lnTo>
                    <a:pt x="12524" y="4548"/>
                  </a:lnTo>
                  <a:lnTo>
                    <a:pt x="12469" y="4465"/>
                  </a:lnTo>
                  <a:lnTo>
                    <a:pt x="12414" y="4379"/>
                  </a:lnTo>
                  <a:lnTo>
                    <a:pt x="12359" y="4292"/>
                  </a:lnTo>
                  <a:lnTo>
                    <a:pt x="12303" y="4204"/>
                  </a:lnTo>
                  <a:lnTo>
                    <a:pt x="12248" y="4117"/>
                  </a:lnTo>
                  <a:lnTo>
                    <a:pt x="12194" y="4033"/>
                  </a:lnTo>
                  <a:lnTo>
                    <a:pt x="12139" y="3952"/>
                  </a:lnTo>
                  <a:lnTo>
                    <a:pt x="12087" y="3877"/>
                  </a:lnTo>
                  <a:lnTo>
                    <a:pt x="12061" y="3842"/>
                  </a:lnTo>
                  <a:lnTo>
                    <a:pt x="12037" y="3808"/>
                  </a:lnTo>
                  <a:lnTo>
                    <a:pt x="12012" y="3776"/>
                  </a:lnTo>
                  <a:lnTo>
                    <a:pt x="11987" y="3748"/>
                  </a:lnTo>
                  <a:lnTo>
                    <a:pt x="11963" y="3721"/>
                  </a:lnTo>
                  <a:lnTo>
                    <a:pt x="11941" y="3696"/>
                  </a:lnTo>
                  <a:lnTo>
                    <a:pt x="11918" y="3674"/>
                  </a:lnTo>
                  <a:lnTo>
                    <a:pt x="11896" y="3656"/>
                  </a:lnTo>
                  <a:lnTo>
                    <a:pt x="11385" y="3177"/>
                  </a:lnTo>
                  <a:lnTo>
                    <a:pt x="11393" y="3168"/>
                  </a:lnTo>
                  <a:lnTo>
                    <a:pt x="11400" y="3159"/>
                  </a:lnTo>
                  <a:lnTo>
                    <a:pt x="11408" y="3151"/>
                  </a:lnTo>
                  <a:lnTo>
                    <a:pt x="11416" y="3144"/>
                  </a:lnTo>
                  <a:lnTo>
                    <a:pt x="11430" y="3131"/>
                  </a:lnTo>
                  <a:lnTo>
                    <a:pt x="11445" y="3118"/>
                  </a:lnTo>
                  <a:lnTo>
                    <a:pt x="11460" y="3104"/>
                  </a:lnTo>
                  <a:lnTo>
                    <a:pt x="11476" y="3092"/>
                  </a:lnTo>
                  <a:lnTo>
                    <a:pt x="11528" y="3047"/>
                  </a:lnTo>
                  <a:lnTo>
                    <a:pt x="11576" y="3005"/>
                  </a:lnTo>
                  <a:lnTo>
                    <a:pt x="11621" y="2964"/>
                  </a:lnTo>
                  <a:lnTo>
                    <a:pt x="11663" y="2924"/>
                  </a:lnTo>
                  <a:lnTo>
                    <a:pt x="11701" y="2887"/>
                  </a:lnTo>
                  <a:lnTo>
                    <a:pt x="11737" y="2851"/>
                  </a:lnTo>
                  <a:lnTo>
                    <a:pt x="11770" y="2816"/>
                  </a:lnTo>
                  <a:lnTo>
                    <a:pt x="11802" y="2782"/>
                  </a:lnTo>
                  <a:lnTo>
                    <a:pt x="11830" y="2749"/>
                  </a:lnTo>
                  <a:lnTo>
                    <a:pt x="11856" y="2718"/>
                  </a:lnTo>
                  <a:lnTo>
                    <a:pt x="11881" y="2688"/>
                  </a:lnTo>
                  <a:lnTo>
                    <a:pt x="11903" y="2659"/>
                  </a:lnTo>
                  <a:lnTo>
                    <a:pt x="11925" y="2630"/>
                  </a:lnTo>
                  <a:lnTo>
                    <a:pt x="11944" y="2602"/>
                  </a:lnTo>
                  <a:lnTo>
                    <a:pt x="11962" y="2575"/>
                  </a:lnTo>
                  <a:lnTo>
                    <a:pt x="11980" y="2549"/>
                  </a:lnTo>
                  <a:lnTo>
                    <a:pt x="12011" y="2498"/>
                  </a:lnTo>
                  <a:lnTo>
                    <a:pt x="12040" y="2449"/>
                  </a:lnTo>
                  <a:lnTo>
                    <a:pt x="12067" y="2401"/>
                  </a:lnTo>
                  <a:lnTo>
                    <a:pt x="12095" y="2354"/>
                  </a:lnTo>
                  <a:lnTo>
                    <a:pt x="12124" y="2305"/>
                  </a:lnTo>
                  <a:lnTo>
                    <a:pt x="12155" y="2257"/>
                  </a:lnTo>
                  <a:lnTo>
                    <a:pt x="12173" y="2233"/>
                  </a:lnTo>
                  <a:lnTo>
                    <a:pt x="12191" y="2207"/>
                  </a:lnTo>
                  <a:lnTo>
                    <a:pt x="12211" y="2181"/>
                  </a:lnTo>
                  <a:lnTo>
                    <a:pt x="12232" y="2155"/>
                  </a:lnTo>
                  <a:lnTo>
                    <a:pt x="12255" y="2162"/>
                  </a:lnTo>
                  <a:lnTo>
                    <a:pt x="12273" y="2169"/>
                  </a:lnTo>
                  <a:lnTo>
                    <a:pt x="12287" y="2174"/>
                  </a:lnTo>
                  <a:lnTo>
                    <a:pt x="12300" y="2180"/>
                  </a:lnTo>
                  <a:lnTo>
                    <a:pt x="12309" y="2184"/>
                  </a:lnTo>
                  <a:lnTo>
                    <a:pt x="12317" y="2190"/>
                  </a:lnTo>
                  <a:lnTo>
                    <a:pt x="12322" y="2195"/>
                  </a:lnTo>
                  <a:lnTo>
                    <a:pt x="12327" y="2200"/>
                  </a:lnTo>
                  <a:lnTo>
                    <a:pt x="12336" y="2210"/>
                  </a:lnTo>
                  <a:lnTo>
                    <a:pt x="12346" y="2223"/>
                  </a:lnTo>
                  <a:lnTo>
                    <a:pt x="12353" y="2230"/>
                  </a:lnTo>
                  <a:lnTo>
                    <a:pt x="12362" y="2238"/>
                  </a:lnTo>
                  <a:lnTo>
                    <a:pt x="12373" y="2245"/>
                  </a:lnTo>
                  <a:lnTo>
                    <a:pt x="12388" y="2256"/>
                  </a:lnTo>
                  <a:lnTo>
                    <a:pt x="12404" y="2265"/>
                  </a:lnTo>
                  <a:lnTo>
                    <a:pt x="12418" y="2273"/>
                  </a:lnTo>
                  <a:lnTo>
                    <a:pt x="12433" y="2278"/>
                  </a:lnTo>
                  <a:lnTo>
                    <a:pt x="12447" y="2283"/>
                  </a:lnTo>
                  <a:lnTo>
                    <a:pt x="12460" y="2286"/>
                  </a:lnTo>
                  <a:lnTo>
                    <a:pt x="12474" y="2289"/>
                  </a:lnTo>
                  <a:lnTo>
                    <a:pt x="12486" y="2291"/>
                  </a:lnTo>
                  <a:lnTo>
                    <a:pt x="12500" y="2292"/>
                  </a:lnTo>
                  <a:lnTo>
                    <a:pt x="12527" y="2292"/>
                  </a:lnTo>
                  <a:lnTo>
                    <a:pt x="12556" y="2291"/>
                  </a:lnTo>
                  <a:lnTo>
                    <a:pt x="12589" y="2292"/>
                  </a:lnTo>
                  <a:lnTo>
                    <a:pt x="12626" y="2295"/>
                  </a:lnTo>
                  <a:lnTo>
                    <a:pt x="12644" y="2297"/>
                  </a:lnTo>
                  <a:lnTo>
                    <a:pt x="12661" y="2300"/>
                  </a:lnTo>
                  <a:lnTo>
                    <a:pt x="12678" y="2303"/>
                  </a:lnTo>
                  <a:lnTo>
                    <a:pt x="12693" y="2306"/>
                  </a:lnTo>
                  <a:lnTo>
                    <a:pt x="12708" y="2311"/>
                  </a:lnTo>
                  <a:lnTo>
                    <a:pt x="12721" y="2315"/>
                  </a:lnTo>
                  <a:lnTo>
                    <a:pt x="12734" y="2320"/>
                  </a:lnTo>
                  <a:lnTo>
                    <a:pt x="12746" y="2326"/>
                  </a:lnTo>
                  <a:lnTo>
                    <a:pt x="12757" y="2331"/>
                  </a:lnTo>
                  <a:lnTo>
                    <a:pt x="12769" y="2338"/>
                  </a:lnTo>
                  <a:lnTo>
                    <a:pt x="12779" y="2345"/>
                  </a:lnTo>
                  <a:lnTo>
                    <a:pt x="12788" y="2352"/>
                  </a:lnTo>
                  <a:lnTo>
                    <a:pt x="12806" y="2366"/>
                  </a:lnTo>
                  <a:lnTo>
                    <a:pt x="12823" y="2382"/>
                  </a:lnTo>
                  <a:lnTo>
                    <a:pt x="12838" y="2399"/>
                  </a:lnTo>
                  <a:lnTo>
                    <a:pt x="12852" y="2416"/>
                  </a:lnTo>
                  <a:lnTo>
                    <a:pt x="12866" y="2435"/>
                  </a:lnTo>
                  <a:lnTo>
                    <a:pt x="12879" y="2454"/>
                  </a:lnTo>
                  <a:lnTo>
                    <a:pt x="12905" y="2494"/>
                  </a:lnTo>
                  <a:lnTo>
                    <a:pt x="12935" y="2536"/>
                  </a:lnTo>
                  <a:lnTo>
                    <a:pt x="13014" y="2641"/>
                  </a:lnTo>
                  <a:lnTo>
                    <a:pt x="13081" y="2729"/>
                  </a:lnTo>
                  <a:lnTo>
                    <a:pt x="13135" y="2801"/>
                  </a:lnTo>
                  <a:lnTo>
                    <a:pt x="13180" y="2859"/>
                  </a:lnTo>
                  <a:lnTo>
                    <a:pt x="13199" y="2883"/>
                  </a:lnTo>
                  <a:lnTo>
                    <a:pt x="13217" y="2904"/>
                  </a:lnTo>
                  <a:lnTo>
                    <a:pt x="13233" y="2922"/>
                  </a:lnTo>
                  <a:lnTo>
                    <a:pt x="13248" y="2937"/>
                  </a:lnTo>
                  <a:lnTo>
                    <a:pt x="13261" y="2950"/>
                  </a:lnTo>
                  <a:lnTo>
                    <a:pt x="13274" y="2961"/>
                  </a:lnTo>
                  <a:lnTo>
                    <a:pt x="13286" y="2968"/>
                  </a:lnTo>
                  <a:lnTo>
                    <a:pt x="13297" y="2975"/>
                  </a:lnTo>
                  <a:lnTo>
                    <a:pt x="13310" y="2980"/>
                  </a:lnTo>
                  <a:lnTo>
                    <a:pt x="13321" y="2983"/>
                  </a:lnTo>
                  <a:lnTo>
                    <a:pt x="13333" y="2985"/>
                  </a:lnTo>
                  <a:lnTo>
                    <a:pt x="13345" y="2986"/>
                  </a:lnTo>
                  <a:lnTo>
                    <a:pt x="13372" y="2985"/>
                  </a:lnTo>
                  <a:lnTo>
                    <a:pt x="13403" y="2981"/>
                  </a:lnTo>
                  <a:lnTo>
                    <a:pt x="13441" y="2977"/>
                  </a:lnTo>
                  <a:lnTo>
                    <a:pt x="13486" y="2973"/>
                  </a:lnTo>
                  <a:lnTo>
                    <a:pt x="13512" y="2972"/>
                  </a:lnTo>
                  <a:lnTo>
                    <a:pt x="13542" y="2972"/>
                  </a:lnTo>
                  <a:lnTo>
                    <a:pt x="13573" y="2972"/>
                  </a:lnTo>
                  <a:lnTo>
                    <a:pt x="13608" y="2974"/>
                  </a:lnTo>
                  <a:lnTo>
                    <a:pt x="13656" y="3031"/>
                  </a:lnTo>
                  <a:lnTo>
                    <a:pt x="13701" y="3086"/>
                  </a:lnTo>
                  <a:lnTo>
                    <a:pt x="13744" y="3144"/>
                  </a:lnTo>
                  <a:lnTo>
                    <a:pt x="13789" y="3200"/>
                  </a:lnTo>
                  <a:lnTo>
                    <a:pt x="13834" y="3259"/>
                  </a:lnTo>
                  <a:lnTo>
                    <a:pt x="13882" y="3316"/>
                  </a:lnTo>
                  <a:lnTo>
                    <a:pt x="13908" y="3347"/>
                  </a:lnTo>
                  <a:lnTo>
                    <a:pt x="13934" y="3376"/>
                  </a:lnTo>
                  <a:lnTo>
                    <a:pt x="13962" y="3406"/>
                  </a:lnTo>
                  <a:lnTo>
                    <a:pt x="13990" y="3436"/>
                  </a:lnTo>
                  <a:lnTo>
                    <a:pt x="14019" y="3465"/>
                  </a:lnTo>
                  <a:lnTo>
                    <a:pt x="14048" y="3491"/>
                  </a:lnTo>
                  <a:lnTo>
                    <a:pt x="14074" y="3514"/>
                  </a:lnTo>
                  <a:lnTo>
                    <a:pt x="14100" y="3534"/>
                  </a:lnTo>
                  <a:lnTo>
                    <a:pt x="14123" y="3551"/>
                  </a:lnTo>
                  <a:lnTo>
                    <a:pt x="14146" y="3565"/>
                  </a:lnTo>
                  <a:lnTo>
                    <a:pt x="14168" y="3577"/>
                  </a:lnTo>
                  <a:lnTo>
                    <a:pt x="14188" y="3586"/>
                  </a:lnTo>
                  <a:lnTo>
                    <a:pt x="14208" y="3594"/>
                  </a:lnTo>
                  <a:lnTo>
                    <a:pt x="14226" y="3600"/>
                  </a:lnTo>
                  <a:lnTo>
                    <a:pt x="14245" y="3604"/>
                  </a:lnTo>
                  <a:lnTo>
                    <a:pt x="14262" y="3607"/>
                  </a:lnTo>
                  <a:lnTo>
                    <a:pt x="14279" y="3608"/>
                  </a:lnTo>
                  <a:lnTo>
                    <a:pt x="14296" y="3608"/>
                  </a:lnTo>
                  <a:lnTo>
                    <a:pt x="14312" y="3608"/>
                  </a:lnTo>
                  <a:lnTo>
                    <a:pt x="14329" y="3607"/>
                  </a:lnTo>
                  <a:lnTo>
                    <a:pt x="14361" y="3602"/>
                  </a:lnTo>
                  <a:lnTo>
                    <a:pt x="14392" y="3598"/>
                  </a:lnTo>
                  <a:lnTo>
                    <a:pt x="14409" y="3595"/>
                  </a:lnTo>
                  <a:lnTo>
                    <a:pt x="14426" y="3594"/>
                  </a:lnTo>
                  <a:lnTo>
                    <a:pt x="14443" y="3593"/>
                  </a:lnTo>
                  <a:lnTo>
                    <a:pt x="14461" y="3593"/>
                  </a:lnTo>
                  <a:lnTo>
                    <a:pt x="14479" y="3594"/>
                  </a:lnTo>
                  <a:lnTo>
                    <a:pt x="14499" y="3597"/>
                  </a:lnTo>
                  <a:lnTo>
                    <a:pt x="14519" y="3600"/>
                  </a:lnTo>
                  <a:lnTo>
                    <a:pt x="14539" y="3606"/>
                  </a:lnTo>
                  <a:lnTo>
                    <a:pt x="14561" y="3612"/>
                  </a:lnTo>
                  <a:lnTo>
                    <a:pt x="14584" y="3621"/>
                  </a:lnTo>
                  <a:lnTo>
                    <a:pt x="14608" y="3633"/>
                  </a:lnTo>
                  <a:lnTo>
                    <a:pt x="14634" y="3646"/>
                  </a:lnTo>
                  <a:lnTo>
                    <a:pt x="14665" y="3664"/>
                  </a:lnTo>
                  <a:lnTo>
                    <a:pt x="14696" y="3685"/>
                  </a:lnTo>
                  <a:lnTo>
                    <a:pt x="14729" y="3706"/>
                  </a:lnTo>
                  <a:lnTo>
                    <a:pt x="14763" y="3729"/>
                  </a:lnTo>
                  <a:lnTo>
                    <a:pt x="14832" y="3777"/>
                  </a:lnTo>
                  <a:lnTo>
                    <a:pt x="14904" y="3830"/>
                  </a:lnTo>
                  <a:lnTo>
                    <a:pt x="14978" y="3885"/>
                  </a:lnTo>
                  <a:lnTo>
                    <a:pt x="15051" y="3941"/>
                  </a:lnTo>
                  <a:lnTo>
                    <a:pt x="15126" y="3998"/>
                  </a:lnTo>
                  <a:lnTo>
                    <a:pt x="15198" y="4053"/>
                  </a:lnTo>
                  <a:lnTo>
                    <a:pt x="15269" y="4106"/>
                  </a:lnTo>
                  <a:lnTo>
                    <a:pt x="15338" y="4155"/>
                  </a:lnTo>
                  <a:lnTo>
                    <a:pt x="15371" y="4178"/>
                  </a:lnTo>
                  <a:lnTo>
                    <a:pt x="15404" y="4200"/>
                  </a:lnTo>
                  <a:lnTo>
                    <a:pt x="15434" y="4219"/>
                  </a:lnTo>
                  <a:lnTo>
                    <a:pt x="15465" y="4238"/>
                  </a:lnTo>
                  <a:lnTo>
                    <a:pt x="15493" y="4254"/>
                  </a:lnTo>
                  <a:lnTo>
                    <a:pt x="15520" y="4269"/>
                  </a:lnTo>
                  <a:lnTo>
                    <a:pt x="15546" y="4281"/>
                  </a:lnTo>
                  <a:lnTo>
                    <a:pt x="15570" y="4291"/>
                  </a:lnTo>
                  <a:lnTo>
                    <a:pt x="15592" y="4298"/>
                  </a:lnTo>
                  <a:lnTo>
                    <a:pt x="15613" y="4304"/>
                  </a:lnTo>
                  <a:lnTo>
                    <a:pt x="15632" y="4306"/>
                  </a:lnTo>
                  <a:lnTo>
                    <a:pt x="15648" y="4305"/>
                  </a:lnTo>
                  <a:lnTo>
                    <a:pt x="15641" y="4292"/>
                  </a:lnTo>
                  <a:lnTo>
                    <a:pt x="15632" y="4279"/>
                  </a:lnTo>
                  <a:lnTo>
                    <a:pt x="15622" y="4266"/>
                  </a:lnTo>
                  <a:lnTo>
                    <a:pt x="15609" y="4254"/>
                  </a:lnTo>
                  <a:lnTo>
                    <a:pt x="15596" y="4242"/>
                  </a:lnTo>
                  <a:lnTo>
                    <a:pt x="15580" y="4228"/>
                  </a:lnTo>
                  <a:lnTo>
                    <a:pt x="15563" y="4214"/>
                  </a:lnTo>
                  <a:lnTo>
                    <a:pt x="15545" y="4201"/>
                  </a:lnTo>
                  <a:lnTo>
                    <a:pt x="15505" y="4172"/>
                  </a:lnTo>
                  <a:lnTo>
                    <a:pt x="15460" y="4138"/>
                  </a:lnTo>
                  <a:lnTo>
                    <a:pt x="15436" y="4118"/>
                  </a:lnTo>
                  <a:lnTo>
                    <a:pt x="15411" y="4098"/>
                  </a:lnTo>
                  <a:lnTo>
                    <a:pt x="15386" y="4077"/>
                  </a:lnTo>
                  <a:lnTo>
                    <a:pt x="15358" y="4053"/>
                  </a:lnTo>
                  <a:lnTo>
                    <a:pt x="15323" y="4021"/>
                  </a:lnTo>
                  <a:lnTo>
                    <a:pt x="15289" y="3989"/>
                  </a:lnTo>
                  <a:lnTo>
                    <a:pt x="15257" y="3957"/>
                  </a:lnTo>
                  <a:lnTo>
                    <a:pt x="15224" y="3924"/>
                  </a:lnTo>
                  <a:lnTo>
                    <a:pt x="15191" y="3893"/>
                  </a:lnTo>
                  <a:lnTo>
                    <a:pt x="15158" y="3860"/>
                  </a:lnTo>
                  <a:lnTo>
                    <a:pt x="15125" y="3828"/>
                  </a:lnTo>
                  <a:lnTo>
                    <a:pt x="15089" y="3796"/>
                  </a:lnTo>
                  <a:lnTo>
                    <a:pt x="15018" y="3733"/>
                  </a:lnTo>
                  <a:lnTo>
                    <a:pt x="14949" y="3670"/>
                  </a:lnTo>
                  <a:lnTo>
                    <a:pt x="14880" y="3606"/>
                  </a:lnTo>
                  <a:lnTo>
                    <a:pt x="14813" y="3541"/>
                  </a:lnTo>
                  <a:lnTo>
                    <a:pt x="14744" y="3477"/>
                  </a:lnTo>
                  <a:lnTo>
                    <a:pt x="14675" y="3411"/>
                  </a:lnTo>
                  <a:lnTo>
                    <a:pt x="14604" y="3346"/>
                  </a:lnTo>
                  <a:lnTo>
                    <a:pt x="14530" y="3280"/>
                  </a:lnTo>
                  <a:lnTo>
                    <a:pt x="14482" y="3288"/>
                  </a:lnTo>
                  <a:lnTo>
                    <a:pt x="14440" y="3296"/>
                  </a:lnTo>
                  <a:lnTo>
                    <a:pt x="14406" y="3304"/>
                  </a:lnTo>
                  <a:lnTo>
                    <a:pt x="14377" y="3312"/>
                  </a:lnTo>
                  <a:lnTo>
                    <a:pt x="14352" y="3320"/>
                  </a:lnTo>
                  <a:lnTo>
                    <a:pt x="14330" y="3325"/>
                  </a:lnTo>
                  <a:lnTo>
                    <a:pt x="14312" y="3330"/>
                  </a:lnTo>
                  <a:lnTo>
                    <a:pt x="14294" y="3331"/>
                  </a:lnTo>
                  <a:lnTo>
                    <a:pt x="14285" y="3331"/>
                  </a:lnTo>
                  <a:lnTo>
                    <a:pt x="14277" y="3330"/>
                  </a:lnTo>
                  <a:lnTo>
                    <a:pt x="14267" y="3329"/>
                  </a:lnTo>
                  <a:lnTo>
                    <a:pt x="14258" y="3325"/>
                  </a:lnTo>
                  <a:lnTo>
                    <a:pt x="14248" y="3322"/>
                  </a:lnTo>
                  <a:lnTo>
                    <a:pt x="14238" y="3317"/>
                  </a:lnTo>
                  <a:lnTo>
                    <a:pt x="14226" y="3311"/>
                  </a:lnTo>
                  <a:lnTo>
                    <a:pt x="14214" y="3304"/>
                  </a:lnTo>
                  <a:lnTo>
                    <a:pt x="14186" y="3286"/>
                  </a:lnTo>
                  <a:lnTo>
                    <a:pt x="14152" y="3262"/>
                  </a:lnTo>
                  <a:lnTo>
                    <a:pt x="14112" y="3233"/>
                  </a:lnTo>
                  <a:lnTo>
                    <a:pt x="14065" y="3197"/>
                  </a:lnTo>
                  <a:lnTo>
                    <a:pt x="14050" y="3184"/>
                  </a:lnTo>
                  <a:lnTo>
                    <a:pt x="14033" y="3168"/>
                  </a:lnTo>
                  <a:lnTo>
                    <a:pt x="14014" y="3149"/>
                  </a:lnTo>
                  <a:lnTo>
                    <a:pt x="13992" y="3127"/>
                  </a:lnTo>
                  <a:lnTo>
                    <a:pt x="13971" y="3102"/>
                  </a:lnTo>
                  <a:lnTo>
                    <a:pt x="13948" y="3076"/>
                  </a:lnTo>
                  <a:lnTo>
                    <a:pt x="13925" y="3049"/>
                  </a:lnTo>
                  <a:lnTo>
                    <a:pt x="13901" y="3019"/>
                  </a:lnTo>
                  <a:lnTo>
                    <a:pt x="13878" y="2991"/>
                  </a:lnTo>
                  <a:lnTo>
                    <a:pt x="13857" y="2962"/>
                  </a:lnTo>
                  <a:lnTo>
                    <a:pt x="13836" y="2933"/>
                  </a:lnTo>
                  <a:lnTo>
                    <a:pt x="13817" y="2905"/>
                  </a:lnTo>
                  <a:lnTo>
                    <a:pt x="13800" y="2879"/>
                  </a:lnTo>
                  <a:lnTo>
                    <a:pt x="13787" y="2855"/>
                  </a:lnTo>
                  <a:lnTo>
                    <a:pt x="13775" y="2833"/>
                  </a:lnTo>
                  <a:lnTo>
                    <a:pt x="13768" y="2814"/>
                  </a:lnTo>
                  <a:lnTo>
                    <a:pt x="13794" y="2794"/>
                  </a:lnTo>
                  <a:lnTo>
                    <a:pt x="13820" y="2776"/>
                  </a:lnTo>
                  <a:lnTo>
                    <a:pt x="13845" y="2762"/>
                  </a:lnTo>
                  <a:lnTo>
                    <a:pt x="13870" y="2747"/>
                  </a:lnTo>
                  <a:lnTo>
                    <a:pt x="13919" y="2721"/>
                  </a:lnTo>
                  <a:lnTo>
                    <a:pt x="13968" y="2696"/>
                  </a:lnTo>
                  <a:lnTo>
                    <a:pt x="13991" y="2684"/>
                  </a:lnTo>
                  <a:lnTo>
                    <a:pt x="14016" y="2670"/>
                  </a:lnTo>
                  <a:lnTo>
                    <a:pt x="14040" y="2655"/>
                  </a:lnTo>
                  <a:lnTo>
                    <a:pt x="14065" y="2641"/>
                  </a:lnTo>
                  <a:lnTo>
                    <a:pt x="14088" y="2624"/>
                  </a:lnTo>
                  <a:lnTo>
                    <a:pt x="14114" y="2605"/>
                  </a:lnTo>
                  <a:lnTo>
                    <a:pt x="14139" y="2583"/>
                  </a:lnTo>
                  <a:lnTo>
                    <a:pt x="14165" y="2559"/>
                  </a:lnTo>
                  <a:lnTo>
                    <a:pt x="14179" y="2545"/>
                  </a:lnTo>
                  <a:lnTo>
                    <a:pt x="14191" y="2532"/>
                  </a:lnTo>
                  <a:lnTo>
                    <a:pt x="14204" y="2519"/>
                  </a:lnTo>
                  <a:lnTo>
                    <a:pt x="14214" y="2506"/>
                  </a:lnTo>
                  <a:lnTo>
                    <a:pt x="14231" y="2483"/>
                  </a:lnTo>
                  <a:lnTo>
                    <a:pt x="14245" y="2460"/>
                  </a:lnTo>
                  <a:lnTo>
                    <a:pt x="14268" y="2418"/>
                  </a:lnTo>
                  <a:lnTo>
                    <a:pt x="14287" y="2379"/>
                  </a:lnTo>
                  <a:lnTo>
                    <a:pt x="14299" y="2358"/>
                  </a:lnTo>
                  <a:lnTo>
                    <a:pt x="14311" y="2338"/>
                  </a:lnTo>
                  <a:lnTo>
                    <a:pt x="14326" y="2318"/>
                  </a:lnTo>
                  <a:lnTo>
                    <a:pt x="14344" y="2296"/>
                  </a:lnTo>
                  <a:lnTo>
                    <a:pt x="14355" y="2285"/>
                  </a:lnTo>
                  <a:lnTo>
                    <a:pt x="14366" y="2274"/>
                  </a:lnTo>
                  <a:lnTo>
                    <a:pt x="14379" y="2262"/>
                  </a:lnTo>
                  <a:lnTo>
                    <a:pt x="14393" y="2250"/>
                  </a:lnTo>
                  <a:lnTo>
                    <a:pt x="14409" y="2238"/>
                  </a:lnTo>
                  <a:lnTo>
                    <a:pt x="14426" y="2225"/>
                  </a:lnTo>
                  <a:lnTo>
                    <a:pt x="14445" y="2212"/>
                  </a:lnTo>
                  <a:lnTo>
                    <a:pt x="14466" y="2198"/>
                  </a:lnTo>
                  <a:lnTo>
                    <a:pt x="14492" y="2180"/>
                  </a:lnTo>
                  <a:lnTo>
                    <a:pt x="14516" y="2160"/>
                  </a:lnTo>
                  <a:lnTo>
                    <a:pt x="14537" y="2138"/>
                  </a:lnTo>
                  <a:lnTo>
                    <a:pt x="14557" y="2117"/>
                  </a:lnTo>
                  <a:lnTo>
                    <a:pt x="14577" y="2093"/>
                  </a:lnTo>
                  <a:lnTo>
                    <a:pt x="14595" y="2070"/>
                  </a:lnTo>
                  <a:lnTo>
                    <a:pt x="14612" y="2045"/>
                  </a:lnTo>
                  <a:lnTo>
                    <a:pt x="14628" y="2022"/>
                  </a:lnTo>
                  <a:lnTo>
                    <a:pt x="14658" y="1974"/>
                  </a:lnTo>
                  <a:lnTo>
                    <a:pt x="14687" y="1929"/>
                  </a:lnTo>
                  <a:lnTo>
                    <a:pt x="14701" y="1908"/>
                  </a:lnTo>
                  <a:lnTo>
                    <a:pt x="14715" y="1887"/>
                  </a:lnTo>
                  <a:lnTo>
                    <a:pt x="14730" y="1869"/>
                  </a:lnTo>
                  <a:lnTo>
                    <a:pt x="14745" y="1852"/>
                  </a:lnTo>
                  <a:lnTo>
                    <a:pt x="14761" y="1838"/>
                  </a:lnTo>
                  <a:lnTo>
                    <a:pt x="14777" y="1825"/>
                  </a:lnTo>
                  <a:lnTo>
                    <a:pt x="14793" y="1815"/>
                  </a:lnTo>
                  <a:lnTo>
                    <a:pt x="14812" y="1807"/>
                  </a:lnTo>
                  <a:lnTo>
                    <a:pt x="14832" y="1803"/>
                  </a:lnTo>
                  <a:lnTo>
                    <a:pt x="14852" y="1801"/>
                  </a:lnTo>
                  <a:lnTo>
                    <a:pt x="14875" y="1803"/>
                  </a:lnTo>
                  <a:lnTo>
                    <a:pt x="14899" y="1808"/>
                  </a:lnTo>
                  <a:lnTo>
                    <a:pt x="14925" y="1817"/>
                  </a:lnTo>
                  <a:lnTo>
                    <a:pt x="14953" y="1830"/>
                  </a:lnTo>
                  <a:lnTo>
                    <a:pt x="14983" y="1848"/>
                  </a:lnTo>
                  <a:lnTo>
                    <a:pt x="15016" y="1869"/>
                  </a:lnTo>
                  <a:lnTo>
                    <a:pt x="15051" y="1895"/>
                  </a:lnTo>
                  <a:lnTo>
                    <a:pt x="15088" y="1927"/>
                  </a:lnTo>
                  <a:lnTo>
                    <a:pt x="15129" y="1964"/>
                  </a:lnTo>
                  <a:lnTo>
                    <a:pt x="15173" y="2006"/>
                  </a:lnTo>
                  <a:lnTo>
                    <a:pt x="15221" y="2054"/>
                  </a:lnTo>
                  <a:lnTo>
                    <a:pt x="15263" y="2101"/>
                  </a:lnTo>
                  <a:lnTo>
                    <a:pt x="15303" y="2145"/>
                  </a:lnTo>
                  <a:lnTo>
                    <a:pt x="15339" y="2188"/>
                  </a:lnTo>
                  <a:lnTo>
                    <a:pt x="15406" y="2268"/>
                  </a:lnTo>
                  <a:lnTo>
                    <a:pt x="15469" y="2345"/>
                  </a:lnTo>
                  <a:lnTo>
                    <a:pt x="15503" y="2383"/>
                  </a:lnTo>
                  <a:lnTo>
                    <a:pt x="15538" y="2421"/>
                  </a:lnTo>
                  <a:lnTo>
                    <a:pt x="15575" y="2459"/>
                  </a:lnTo>
                  <a:lnTo>
                    <a:pt x="15617" y="2498"/>
                  </a:lnTo>
                  <a:lnTo>
                    <a:pt x="15640" y="2518"/>
                  </a:lnTo>
                  <a:lnTo>
                    <a:pt x="15663" y="2538"/>
                  </a:lnTo>
                  <a:lnTo>
                    <a:pt x="15688" y="2558"/>
                  </a:lnTo>
                  <a:lnTo>
                    <a:pt x="15714" y="2579"/>
                  </a:lnTo>
                  <a:lnTo>
                    <a:pt x="15743" y="2600"/>
                  </a:lnTo>
                  <a:lnTo>
                    <a:pt x="15772" y="2622"/>
                  </a:lnTo>
                  <a:lnTo>
                    <a:pt x="15802" y="2643"/>
                  </a:lnTo>
                  <a:lnTo>
                    <a:pt x="15835" y="2666"/>
                  </a:lnTo>
                  <a:lnTo>
                    <a:pt x="15877" y="2696"/>
                  </a:lnTo>
                  <a:lnTo>
                    <a:pt x="15922" y="2732"/>
                  </a:lnTo>
                  <a:lnTo>
                    <a:pt x="15947" y="2750"/>
                  </a:lnTo>
                  <a:lnTo>
                    <a:pt x="15972" y="2770"/>
                  </a:lnTo>
                  <a:lnTo>
                    <a:pt x="15998" y="2788"/>
                  </a:lnTo>
                  <a:lnTo>
                    <a:pt x="16025" y="2806"/>
                  </a:lnTo>
                  <a:lnTo>
                    <a:pt x="16053" y="2820"/>
                  </a:lnTo>
                  <a:lnTo>
                    <a:pt x="16082" y="2835"/>
                  </a:lnTo>
                  <a:lnTo>
                    <a:pt x="16096" y="2841"/>
                  </a:lnTo>
                  <a:lnTo>
                    <a:pt x="16111" y="2846"/>
                  </a:lnTo>
                  <a:lnTo>
                    <a:pt x="16127" y="2851"/>
                  </a:lnTo>
                  <a:lnTo>
                    <a:pt x="16143" y="2854"/>
                  </a:lnTo>
                  <a:lnTo>
                    <a:pt x="16157" y="2858"/>
                  </a:lnTo>
                  <a:lnTo>
                    <a:pt x="16173" y="2859"/>
                  </a:lnTo>
                  <a:lnTo>
                    <a:pt x="16190" y="2860"/>
                  </a:lnTo>
                  <a:lnTo>
                    <a:pt x="16206" y="2860"/>
                  </a:lnTo>
                  <a:lnTo>
                    <a:pt x="16222" y="2859"/>
                  </a:lnTo>
                  <a:lnTo>
                    <a:pt x="16239" y="2857"/>
                  </a:lnTo>
                  <a:lnTo>
                    <a:pt x="16256" y="2853"/>
                  </a:lnTo>
                  <a:lnTo>
                    <a:pt x="16272" y="2848"/>
                  </a:lnTo>
                  <a:lnTo>
                    <a:pt x="16284" y="2844"/>
                  </a:lnTo>
                  <a:lnTo>
                    <a:pt x="16295" y="2840"/>
                  </a:lnTo>
                  <a:lnTo>
                    <a:pt x="16306" y="2834"/>
                  </a:lnTo>
                  <a:lnTo>
                    <a:pt x="16318" y="2827"/>
                  </a:lnTo>
                  <a:lnTo>
                    <a:pt x="16340" y="2813"/>
                  </a:lnTo>
                  <a:lnTo>
                    <a:pt x="16363" y="2796"/>
                  </a:lnTo>
                  <a:lnTo>
                    <a:pt x="16385" y="2777"/>
                  </a:lnTo>
                  <a:lnTo>
                    <a:pt x="16408" y="2757"/>
                  </a:lnTo>
                  <a:lnTo>
                    <a:pt x="16432" y="2736"/>
                  </a:lnTo>
                  <a:lnTo>
                    <a:pt x="16455" y="2713"/>
                  </a:lnTo>
                  <a:lnTo>
                    <a:pt x="16480" y="2691"/>
                  </a:lnTo>
                  <a:lnTo>
                    <a:pt x="16505" y="2668"/>
                  </a:lnTo>
                  <a:lnTo>
                    <a:pt x="16530" y="2646"/>
                  </a:lnTo>
                  <a:lnTo>
                    <a:pt x="16556" y="2625"/>
                  </a:lnTo>
                  <a:lnTo>
                    <a:pt x="16583" y="2605"/>
                  </a:lnTo>
                  <a:lnTo>
                    <a:pt x="16611" y="2587"/>
                  </a:lnTo>
                  <a:lnTo>
                    <a:pt x="16625" y="2578"/>
                  </a:lnTo>
                  <a:lnTo>
                    <a:pt x="16640" y="2570"/>
                  </a:lnTo>
                  <a:lnTo>
                    <a:pt x="16654" y="2563"/>
                  </a:lnTo>
                  <a:lnTo>
                    <a:pt x="16669" y="2555"/>
                  </a:lnTo>
                  <a:lnTo>
                    <a:pt x="17262" y="3470"/>
                  </a:lnTo>
                  <a:lnTo>
                    <a:pt x="17293" y="3511"/>
                  </a:lnTo>
                  <a:lnTo>
                    <a:pt x="17329" y="3556"/>
                  </a:lnTo>
                  <a:lnTo>
                    <a:pt x="17370" y="3606"/>
                  </a:lnTo>
                  <a:lnTo>
                    <a:pt x="17414" y="3659"/>
                  </a:lnTo>
                  <a:lnTo>
                    <a:pt x="17462" y="3714"/>
                  </a:lnTo>
                  <a:lnTo>
                    <a:pt x="17513" y="3770"/>
                  </a:lnTo>
                  <a:lnTo>
                    <a:pt x="17567" y="3827"/>
                  </a:lnTo>
                  <a:lnTo>
                    <a:pt x="17623" y="3882"/>
                  </a:lnTo>
                  <a:lnTo>
                    <a:pt x="17652" y="3909"/>
                  </a:lnTo>
                  <a:lnTo>
                    <a:pt x="17680" y="3937"/>
                  </a:lnTo>
                  <a:lnTo>
                    <a:pt x="17710" y="3961"/>
                  </a:lnTo>
                  <a:lnTo>
                    <a:pt x="17739" y="3987"/>
                  </a:lnTo>
                  <a:lnTo>
                    <a:pt x="17768" y="4011"/>
                  </a:lnTo>
                  <a:lnTo>
                    <a:pt x="17798" y="4034"/>
                  </a:lnTo>
                  <a:lnTo>
                    <a:pt x="17827" y="4055"/>
                  </a:lnTo>
                  <a:lnTo>
                    <a:pt x="17857" y="4076"/>
                  </a:lnTo>
                  <a:lnTo>
                    <a:pt x="17885" y="4095"/>
                  </a:lnTo>
                  <a:lnTo>
                    <a:pt x="17914" y="4112"/>
                  </a:lnTo>
                  <a:lnTo>
                    <a:pt x="17942" y="4126"/>
                  </a:lnTo>
                  <a:lnTo>
                    <a:pt x="17971" y="4140"/>
                  </a:lnTo>
                  <a:lnTo>
                    <a:pt x="17998" y="4151"/>
                  </a:lnTo>
                  <a:lnTo>
                    <a:pt x="18025" y="4160"/>
                  </a:lnTo>
                  <a:lnTo>
                    <a:pt x="18052" y="4168"/>
                  </a:lnTo>
                  <a:lnTo>
                    <a:pt x="18078" y="4173"/>
                  </a:lnTo>
                  <a:lnTo>
                    <a:pt x="18076" y="4122"/>
                  </a:lnTo>
                  <a:lnTo>
                    <a:pt x="18053" y="4098"/>
                  </a:lnTo>
                  <a:lnTo>
                    <a:pt x="18029" y="4076"/>
                  </a:lnTo>
                  <a:lnTo>
                    <a:pt x="18005" y="4053"/>
                  </a:lnTo>
                  <a:lnTo>
                    <a:pt x="17977" y="4030"/>
                  </a:lnTo>
                  <a:lnTo>
                    <a:pt x="17951" y="4008"/>
                  </a:lnTo>
                  <a:lnTo>
                    <a:pt x="17924" y="3985"/>
                  </a:lnTo>
                  <a:lnTo>
                    <a:pt x="17898" y="3960"/>
                  </a:lnTo>
                  <a:lnTo>
                    <a:pt x="17872" y="3935"/>
                  </a:lnTo>
                  <a:lnTo>
                    <a:pt x="17809" y="3868"/>
                  </a:lnTo>
                  <a:lnTo>
                    <a:pt x="17747" y="3800"/>
                  </a:lnTo>
                  <a:lnTo>
                    <a:pt x="17687" y="3731"/>
                  </a:lnTo>
                  <a:lnTo>
                    <a:pt x="17629" y="3661"/>
                  </a:lnTo>
                  <a:lnTo>
                    <a:pt x="17572" y="3590"/>
                  </a:lnTo>
                  <a:lnTo>
                    <a:pt x="17518" y="3519"/>
                  </a:lnTo>
                  <a:lnTo>
                    <a:pt x="17463" y="3446"/>
                  </a:lnTo>
                  <a:lnTo>
                    <a:pt x="17410" y="3373"/>
                  </a:lnTo>
                  <a:lnTo>
                    <a:pt x="17358" y="3298"/>
                  </a:lnTo>
                  <a:lnTo>
                    <a:pt x="17307" y="3223"/>
                  </a:lnTo>
                  <a:lnTo>
                    <a:pt x="17258" y="3147"/>
                  </a:lnTo>
                  <a:lnTo>
                    <a:pt x="17208" y="3070"/>
                  </a:lnTo>
                  <a:lnTo>
                    <a:pt x="17159" y="2992"/>
                  </a:lnTo>
                  <a:lnTo>
                    <a:pt x="17111" y="2913"/>
                  </a:lnTo>
                  <a:lnTo>
                    <a:pt x="17063" y="2834"/>
                  </a:lnTo>
                  <a:lnTo>
                    <a:pt x="17015" y="2754"/>
                  </a:lnTo>
                  <a:lnTo>
                    <a:pt x="16982" y="2695"/>
                  </a:lnTo>
                  <a:lnTo>
                    <a:pt x="16946" y="2632"/>
                  </a:lnTo>
                  <a:lnTo>
                    <a:pt x="16906" y="2564"/>
                  </a:lnTo>
                  <a:lnTo>
                    <a:pt x="16866" y="2496"/>
                  </a:lnTo>
                  <a:lnTo>
                    <a:pt x="16844" y="2463"/>
                  </a:lnTo>
                  <a:lnTo>
                    <a:pt x="16822" y="2433"/>
                  </a:lnTo>
                  <a:lnTo>
                    <a:pt x="16799" y="2402"/>
                  </a:lnTo>
                  <a:lnTo>
                    <a:pt x="16775" y="2374"/>
                  </a:lnTo>
                  <a:lnTo>
                    <a:pt x="16753" y="2348"/>
                  </a:lnTo>
                  <a:lnTo>
                    <a:pt x="16729" y="2326"/>
                  </a:lnTo>
                  <a:lnTo>
                    <a:pt x="16717" y="2315"/>
                  </a:lnTo>
                  <a:lnTo>
                    <a:pt x="16704" y="2306"/>
                  </a:lnTo>
                  <a:lnTo>
                    <a:pt x="16692" y="2297"/>
                  </a:lnTo>
                  <a:lnTo>
                    <a:pt x="16679" y="2289"/>
                  </a:lnTo>
                  <a:lnTo>
                    <a:pt x="16649" y="2293"/>
                  </a:lnTo>
                  <a:lnTo>
                    <a:pt x="16619" y="2299"/>
                  </a:lnTo>
                  <a:lnTo>
                    <a:pt x="16591" y="2309"/>
                  </a:lnTo>
                  <a:lnTo>
                    <a:pt x="16563" y="2321"/>
                  </a:lnTo>
                  <a:lnTo>
                    <a:pt x="16537" y="2336"/>
                  </a:lnTo>
                  <a:lnTo>
                    <a:pt x="16510" y="2353"/>
                  </a:lnTo>
                  <a:lnTo>
                    <a:pt x="16485" y="2372"/>
                  </a:lnTo>
                  <a:lnTo>
                    <a:pt x="16459" y="2392"/>
                  </a:lnTo>
                  <a:lnTo>
                    <a:pt x="16409" y="2436"/>
                  </a:lnTo>
                  <a:lnTo>
                    <a:pt x="16361" y="2482"/>
                  </a:lnTo>
                  <a:lnTo>
                    <a:pt x="16336" y="2504"/>
                  </a:lnTo>
                  <a:lnTo>
                    <a:pt x="16311" y="2526"/>
                  </a:lnTo>
                  <a:lnTo>
                    <a:pt x="16286" y="2547"/>
                  </a:lnTo>
                  <a:lnTo>
                    <a:pt x="16261" y="2566"/>
                  </a:lnTo>
                  <a:lnTo>
                    <a:pt x="16235" y="2583"/>
                  </a:lnTo>
                  <a:lnTo>
                    <a:pt x="16209" y="2599"/>
                  </a:lnTo>
                  <a:lnTo>
                    <a:pt x="16182" y="2611"/>
                  </a:lnTo>
                  <a:lnTo>
                    <a:pt x="16155" y="2622"/>
                  </a:lnTo>
                  <a:lnTo>
                    <a:pt x="16127" y="2628"/>
                  </a:lnTo>
                  <a:lnTo>
                    <a:pt x="16097" y="2632"/>
                  </a:lnTo>
                  <a:lnTo>
                    <a:pt x="16067" y="2631"/>
                  </a:lnTo>
                  <a:lnTo>
                    <a:pt x="16035" y="2625"/>
                  </a:lnTo>
                  <a:lnTo>
                    <a:pt x="16002" y="2616"/>
                  </a:lnTo>
                  <a:lnTo>
                    <a:pt x="15969" y="2601"/>
                  </a:lnTo>
                  <a:lnTo>
                    <a:pt x="15932" y="2581"/>
                  </a:lnTo>
                  <a:lnTo>
                    <a:pt x="15895" y="2555"/>
                  </a:lnTo>
                  <a:lnTo>
                    <a:pt x="15857" y="2523"/>
                  </a:lnTo>
                  <a:lnTo>
                    <a:pt x="15816" y="2485"/>
                  </a:lnTo>
                  <a:lnTo>
                    <a:pt x="15773" y="2440"/>
                  </a:lnTo>
                  <a:lnTo>
                    <a:pt x="15729" y="2388"/>
                  </a:lnTo>
                  <a:lnTo>
                    <a:pt x="15708" y="2361"/>
                  </a:lnTo>
                  <a:lnTo>
                    <a:pt x="15686" y="2335"/>
                  </a:lnTo>
                  <a:lnTo>
                    <a:pt x="15663" y="2309"/>
                  </a:lnTo>
                  <a:lnTo>
                    <a:pt x="15642" y="2282"/>
                  </a:lnTo>
                  <a:lnTo>
                    <a:pt x="15621" y="2256"/>
                  </a:lnTo>
                  <a:lnTo>
                    <a:pt x="15598" y="2228"/>
                  </a:lnTo>
                  <a:lnTo>
                    <a:pt x="15576" y="2202"/>
                  </a:lnTo>
                  <a:lnTo>
                    <a:pt x="15554" y="2175"/>
                  </a:lnTo>
                  <a:lnTo>
                    <a:pt x="15530" y="2146"/>
                  </a:lnTo>
                  <a:lnTo>
                    <a:pt x="15504" y="2111"/>
                  </a:lnTo>
                  <a:lnTo>
                    <a:pt x="15477" y="2074"/>
                  </a:lnTo>
                  <a:lnTo>
                    <a:pt x="15448" y="2032"/>
                  </a:lnTo>
                  <a:lnTo>
                    <a:pt x="15384" y="1945"/>
                  </a:lnTo>
                  <a:lnTo>
                    <a:pt x="15315" y="1853"/>
                  </a:lnTo>
                  <a:lnTo>
                    <a:pt x="15280" y="1808"/>
                  </a:lnTo>
                  <a:lnTo>
                    <a:pt x="15244" y="1765"/>
                  </a:lnTo>
                  <a:lnTo>
                    <a:pt x="15208" y="1723"/>
                  </a:lnTo>
                  <a:lnTo>
                    <a:pt x="15171" y="1685"/>
                  </a:lnTo>
                  <a:lnTo>
                    <a:pt x="15153" y="1667"/>
                  </a:lnTo>
                  <a:lnTo>
                    <a:pt x="15135" y="1650"/>
                  </a:lnTo>
                  <a:lnTo>
                    <a:pt x="15117" y="1634"/>
                  </a:lnTo>
                  <a:lnTo>
                    <a:pt x="15097" y="1620"/>
                  </a:lnTo>
                  <a:lnTo>
                    <a:pt x="15079" y="1606"/>
                  </a:lnTo>
                  <a:lnTo>
                    <a:pt x="15061" y="1594"/>
                  </a:lnTo>
                  <a:lnTo>
                    <a:pt x="15043" y="1583"/>
                  </a:lnTo>
                  <a:lnTo>
                    <a:pt x="15025" y="1574"/>
                  </a:lnTo>
                  <a:lnTo>
                    <a:pt x="15002" y="1564"/>
                  </a:lnTo>
                  <a:lnTo>
                    <a:pt x="14980" y="1556"/>
                  </a:lnTo>
                  <a:lnTo>
                    <a:pt x="14958" y="1550"/>
                  </a:lnTo>
                  <a:lnTo>
                    <a:pt x="14937" y="1546"/>
                  </a:lnTo>
                  <a:lnTo>
                    <a:pt x="14915" y="1543"/>
                  </a:lnTo>
                  <a:lnTo>
                    <a:pt x="14895" y="1542"/>
                  </a:lnTo>
                  <a:lnTo>
                    <a:pt x="14876" y="1543"/>
                  </a:lnTo>
                  <a:lnTo>
                    <a:pt x="14857" y="1545"/>
                  </a:lnTo>
                  <a:lnTo>
                    <a:pt x="14838" y="1548"/>
                  </a:lnTo>
                  <a:lnTo>
                    <a:pt x="14819" y="1553"/>
                  </a:lnTo>
                  <a:lnTo>
                    <a:pt x="14801" y="1559"/>
                  </a:lnTo>
                  <a:lnTo>
                    <a:pt x="14784" y="1566"/>
                  </a:lnTo>
                  <a:lnTo>
                    <a:pt x="14767" y="1574"/>
                  </a:lnTo>
                  <a:lnTo>
                    <a:pt x="14752" y="1583"/>
                  </a:lnTo>
                  <a:lnTo>
                    <a:pt x="14736" y="1594"/>
                  </a:lnTo>
                  <a:lnTo>
                    <a:pt x="14721" y="1604"/>
                  </a:lnTo>
                  <a:lnTo>
                    <a:pt x="14706" y="1615"/>
                  </a:lnTo>
                  <a:lnTo>
                    <a:pt x="14692" y="1626"/>
                  </a:lnTo>
                  <a:lnTo>
                    <a:pt x="14678" y="1639"/>
                  </a:lnTo>
                  <a:lnTo>
                    <a:pt x="14665" y="1652"/>
                  </a:lnTo>
                  <a:lnTo>
                    <a:pt x="14640" y="1678"/>
                  </a:lnTo>
                  <a:lnTo>
                    <a:pt x="14616" y="1705"/>
                  </a:lnTo>
                  <a:lnTo>
                    <a:pt x="14575" y="1759"/>
                  </a:lnTo>
                  <a:lnTo>
                    <a:pt x="14541" y="1806"/>
                  </a:lnTo>
                  <a:lnTo>
                    <a:pt x="14512" y="1845"/>
                  </a:lnTo>
                  <a:lnTo>
                    <a:pt x="14476" y="1891"/>
                  </a:lnTo>
                  <a:lnTo>
                    <a:pt x="14436" y="1939"/>
                  </a:lnTo>
                  <a:lnTo>
                    <a:pt x="14391" y="1991"/>
                  </a:lnTo>
                  <a:lnTo>
                    <a:pt x="14344" y="2045"/>
                  </a:lnTo>
                  <a:lnTo>
                    <a:pt x="14294" y="2102"/>
                  </a:lnTo>
                  <a:lnTo>
                    <a:pt x="14241" y="2158"/>
                  </a:lnTo>
                  <a:lnTo>
                    <a:pt x="14188" y="2215"/>
                  </a:lnTo>
                  <a:lnTo>
                    <a:pt x="14134" y="2270"/>
                  </a:lnTo>
                  <a:lnTo>
                    <a:pt x="14081" y="2323"/>
                  </a:lnTo>
                  <a:lnTo>
                    <a:pt x="14027" y="2374"/>
                  </a:lnTo>
                  <a:lnTo>
                    <a:pt x="13977" y="2421"/>
                  </a:lnTo>
                  <a:lnTo>
                    <a:pt x="13928" y="2463"/>
                  </a:lnTo>
                  <a:lnTo>
                    <a:pt x="13883" y="2501"/>
                  </a:lnTo>
                  <a:lnTo>
                    <a:pt x="13862" y="2518"/>
                  </a:lnTo>
                  <a:lnTo>
                    <a:pt x="13842" y="2532"/>
                  </a:lnTo>
                  <a:lnTo>
                    <a:pt x="13823" y="2546"/>
                  </a:lnTo>
                  <a:lnTo>
                    <a:pt x="13806" y="2557"/>
                  </a:lnTo>
                  <a:lnTo>
                    <a:pt x="13291" y="2781"/>
                  </a:lnTo>
                  <a:lnTo>
                    <a:pt x="13282" y="2779"/>
                  </a:lnTo>
                  <a:lnTo>
                    <a:pt x="13273" y="2773"/>
                  </a:lnTo>
                  <a:lnTo>
                    <a:pt x="13262" y="2764"/>
                  </a:lnTo>
                  <a:lnTo>
                    <a:pt x="13250" y="2754"/>
                  </a:lnTo>
                  <a:lnTo>
                    <a:pt x="13238" y="2741"/>
                  </a:lnTo>
                  <a:lnTo>
                    <a:pt x="13224" y="2727"/>
                  </a:lnTo>
                  <a:lnTo>
                    <a:pt x="13210" y="2711"/>
                  </a:lnTo>
                  <a:lnTo>
                    <a:pt x="13196" y="2693"/>
                  </a:lnTo>
                  <a:lnTo>
                    <a:pt x="13164" y="2653"/>
                  </a:lnTo>
                  <a:lnTo>
                    <a:pt x="13130" y="2608"/>
                  </a:lnTo>
                  <a:lnTo>
                    <a:pt x="13095" y="2561"/>
                  </a:lnTo>
                  <a:lnTo>
                    <a:pt x="13060" y="2511"/>
                  </a:lnTo>
                  <a:lnTo>
                    <a:pt x="12991" y="2413"/>
                  </a:lnTo>
                  <a:lnTo>
                    <a:pt x="12929" y="2322"/>
                  </a:lnTo>
                  <a:lnTo>
                    <a:pt x="12902" y="2285"/>
                  </a:lnTo>
                  <a:lnTo>
                    <a:pt x="12878" y="2253"/>
                  </a:lnTo>
                  <a:lnTo>
                    <a:pt x="12867" y="2240"/>
                  </a:lnTo>
                  <a:lnTo>
                    <a:pt x="12858" y="2228"/>
                  </a:lnTo>
                  <a:lnTo>
                    <a:pt x="12850" y="2221"/>
                  </a:lnTo>
                  <a:lnTo>
                    <a:pt x="12843" y="2214"/>
                  </a:lnTo>
                  <a:lnTo>
                    <a:pt x="12831" y="2205"/>
                  </a:lnTo>
                  <a:lnTo>
                    <a:pt x="12818" y="2196"/>
                  </a:lnTo>
                  <a:lnTo>
                    <a:pt x="12807" y="2188"/>
                  </a:lnTo>
                  <a:lnTo>
                    <a:pt x="12795" y="2181"/>
                  </a:lnTo>
                  <a:lnTo>
                    <a:pt x="12782" y="2174"/>
                  </a:lnTo>
                  <a:lnTo>
                    <a:pt x="12770" y="2170"/>
                  </a:lnTo>
                  <a:lnTo>
                    <a:pt x="12757" y="2165"/>
                  </a:lnTo>
                  <a:lnTo>
                    <a:pt x="12745" y="2161"/>
                  </a:lnTo>
                  <a:lnTo>
                    <a:pt x="12720" y="2155"/>
                  </a:lnTo>
                  <a:lnTo>
                    <a:pt x="12694" y="2151"/>
                  </a:lnTo>
                  <a:lnTo>
                    <a:pt x="12669" y="2148"/>
                  </a:lnTo>
                  <a:lnTo>
                    <a:pt x="12644" y="2147"/>
                  </a:lnTo>
                  <a:lnTo>
                    <a:pt x="12595" y="2146"/>
                  </a:lnTo>
                  <a:lnTo>
                    <a:pt x="12545" y="2143"/>
                  </a:lnTo>
                  <a:lnTo>
                    <a:pt x="12520" y="2139"/>
                  </a:lnTo>
                  <a:lnTo>
                    <a:pt x="12495" y="2135"/>
                  </a:lnTo>
                  <a:lnTo>
                    <a:pt x="12483" y="2131"/>
                  </a:lnTo>
                  <a:lnTo>
                    <a:pt x="12470" y="2128"/>
                  </a:lnTo>
                  <a:lnTo>
                    <a:pt x="12458" y="2123"/>
                  </a:lnTo>
                  <a:lnTo>
                    <a:pt x="12446" y="2118"/>
                  </a:lnTo>
                  <a:lnTo>
                    <a:pt x="12435" y="2113"/>
                  </a:lnTo>
                  <a:lnTo>
                    <a:pt x="12425" y="2106"/>
                  </a:lnTo>
                  <a:lnTo>
                    <a:pt x="12416" y="2101"/>
                  </a:lnTo>
                  <a:lnTo>
                    <a:pt x="12407" y="2093"/>
                  </a:lnTo>
                  <a:lnTo>
                    <a:pt x="12391" y="2078"/>
                  </a:lnTo>
                  <a:lnTo>
                    <a:pt x="12378" y="2061"/>
                  </a:lnTo>
                  <a:lnTo>
                    <a:pt x="12352" y="2026"/>
                  </a:lnTo>
                  <a:lnTo>
                    <a:pt x="12327" y="1991"/>
                  </a:lnTo>
                  <a:lnTo>
                    <a:pt x="12320" y="1984"/>
                  </a:lnTo>
                  <a:lnTo>
                    <a:pt x="12313" y="1977"/>
                  </a:lnTo>
                  <a:lnTo>
                    <a:pt x="12305" y="1970"/>
                  </a:lnTo>
                  <a:lnTo>
                    <a:pt x="12299" y="1963"/>
                  </a:lnTo>
                  <a:lnTo>
                    <a:pt x="12291" y="1957"/>
                  </a:lnTo>
                  <a:lnTo>
                    <a:pt x="12282" y="1952"/>
                  </a:lnTo>
                  <a:lnTo>
                    <a:pt x="12273" y="1948"/>
                  </a:lnTo>
                  <a:lnTo>
                    <a:pt x="12263" y="1944"/>
                  </a:lnTo>
                  <a:lnTo>
                    <a:pt x="12252" y="1942"/>
                  </a:lnTo>
                  <a:lnTo>
                    <a:pt x="12241" y="1940"/>
                  </a:lnTo>
                  <a:lnTo>
                    <a:pt x="12230" y="1939"/>
                  </a:lnTo>
                  <a:lnTo>
                    <a:pt x="12216" y="1939"/>
                  </a:lnTo>
                  <a:lnTo>
                    <a:pt x="12203" y="1942"/>
                  </a:lnTo>
                  <a:lnTo>
                    <a:pt x="12188" y="1944"/>
                  </a:lnTo>
                  <a:lnTo>
                    <a:pt x="12173" y="1948"/>
                  </a:lnTo>
                  <a:lnTo>
                    <a:pt x="12156" y="1953"/>
                  </a:lnTo>
                  <a:lnTo>
                    <a:pt x="12145" y="1958"/>
                  </a:lnTo>
                  <a:lnTo>
                    <a:pt x="12134" y="1964"/>
                  </a:lnTo>
                  <a:lnTo>
                    <a:pt x="12121" y="1973"/>
                  </a:lnTo>
                  <a:lnTo>
                    <a:pt x="12109" y="1983"/>
                  </a:lnTo>
                  <a:lnTo>
                    <a:pt x="12095" y="1995"/>
                  </a:lnTo>
                  <a:lnTo>
                    <a:pt x="12081" y="2008"/>
                  </a:lnTo>
                  <a:lnTo>
                    <a:pt x="12066" y="2023"/>
                  </a:lnTo>
                  <a:lnTo>
                    <a:pt x="12050" y="2039"/>
                  </a:lnTo>
                  <a:lnTo>
                    <a:pt x="12017" y="2074"/>
                  </a:lnTo>
                  <a:lnTo>
                    <a:pt x="11983" y="2113"/>
                  </a:lnTo>
                  <a:lnTo>
                    <a:pt x="11950" y="2155"/>
                  </a:lnTo>
                  <a:lnTo>
                    <a:pt x="11915" y="2199"/>
                  </a:lnTo>
                  <a:lnTo>
                    <a:pt x="11846" y="2287"/>
                  </a:lnTo>
                  <a:lnTo>
                    <a:pt x="11782" y="2373"/>
                  </a:lnTo>
                  <a:lnTo>
                    <a:pt x="11727" y="2446"/>
                  </a:lnTo>
                  <a:lnTo>
                    <a:pt x="11684" y="2502"/>
                  </a:lnTo>
                  <a:lnTo>
                    <a:pt x="11625" y="2574"/>
                  </a:lnTo>
                  <a:lnTo>
                    <a:pt x="11570" y="2644"/>
                  </a:lnTo>
                  <a:lnTo>
                    <a:pt x="11542" y="2678"/>
                  </a:lnTo>
                  <a:lnTo>
                    <a:pt x="11515" y="2711"/>
                  </a:lnTo>
                  <a:lnTo>
                    <a:pt x="11486" y="2742"/>
                  </a:lnTo>
                  <a:lnTo>
                    <a:pt x="11459" y="2774"/>
                  </a:lnTo>
                  <a:lnTo>
                    <a:pt x="11430" y="2805"/>
                  </a:lnTo>
                  <a:lnTo>
                    <a:pt x="11400" y="2834"/>
                  </a:lnTo>
                  <a:lnTo>
                    <a:pt x="11370" y="2863"/>
                  </a:lnTo>
                  <a:lnTo>
                    <a:pt x="11338" y="2892"/>
                  </a:lnTo>
                  <a:lnTo>
                    <a:pt x="11306" y="2919"/>
                  </a:lnTo>
                  <a:lnTo>
                    <a:pt x="11272" y="2946"/>
                  </a:lnTo>
                  <a:lnTo>
                    <a:pt x="11235" y="2973"/>
                  </a:lnTo>
                  <a:lnTo>
                    <a:pt x="11197" y="2998"/>
                  </a:lnTo>
                  <a:lnTo>
                    <a:pt x="11171" y="2979"/>
                  </a:lnTo>
                  <a:lnTo>
                    <a:pt x="11147" y="2958"/>
                  </a:lnTo>
                  <a:lnTo>
                    <a:pt x="11125" y="2938"/>
                  </a:lnTo>
                  <a:lnTo>
                    <a:pt x="11103" y="2916"/>
                  </a:lnTo>
                  <a:lnTo>
                    <a:pt x="11083" y="2894"/>
                  </a:lnTo>
                  <a:lnTo>
                    <a:pt x="11065" y="2871"/>
                  </a:lnTo>
                  <a:lnTo>
                    <a:pt x="11047" y="2848"/>
                  </a:lnTo>
                  <a:lnTo>
                    <a:pt x="11030" y="2824"/>
                  </a:lnTo>
                  <a:lnTo>
                    <a:pt x="11015" y="2799"/>
                  </a:lnTo>
                  <a:lnTo>
                    <a:pt x="11000" y="2774"/>
                  </a:lnTo>
                  <a:lnTo>
                    <a:pt x="10987" y="2749"/>
                  </a:lnTo>
                  <a:lnTo>
                    <a:pt x="10974" y="2723"/>
                  </a:lnTo>
                  <a:lnTo>
                    <a:pt x="10963" y="2697"/>
                  </a:lnTo>
                  <a:lnTo>
                    <a:pt x="10952" y="2671"/>
                  </a:lnTo>
                  <a:lnTo>
                    <a:pt x="10943" y="2645"/>
                  </a:lnTo>
                  <a:lnTo>
                    <a:pt x="10934" y="2619"/>
                  </a:lnTo>
                  <a:lnTo>
                    <a:pt x="10917" y="2567"/>
                  </a:lnTo>
                  <a:lnTo>
                    <a:pt x="10903" y="2517"/>
                  </a:lnTo>
                  <a:lnTo>
                    <a:pt x="10892" y="2466"/>
                  </a:lnTo>
                  <a:lnTo>
                    <a:pt x="10882" y="2416"/>
                  </a:lnTo>
                  <a:lnTo>
                    <a:pt x="10865" y="2323"/>
                  </a:lnTo>
                  <a:lnTo>
                    <a:pt x="10850" y="2242"/>
                  </a:lnTo>
                  <a:lnTo>
                    <a:pt x="10846" y="2223"/>
                  </a:lnTo>
                  <a:lnTo>
                    <a:pt x="10839" y="2204"/>
                  </a:lnTo>
                  <a:lnTo>
                    <a:pt x="10830" y="2186"/>
                  </a:lnTo>
                  <a:lnTo>
                    <a:pt x="10817" y="2166"/>
                  </a:lnTo>
                  <a:lnTo>
                    <a:pt x="10804" y="2148"/>
                  </a:lnTo>
                  <a:lnTo>
                    <a:pt x="10789" y="2129"/>
                  </a:lnTo>
                  <a:lnTo>
                    <a:pt x="10772" y="2111"/>
                  </a:lnTo>
                  <a:lnTo>
                    <a:pt x="10753" y="2092"/>
                  </a:lnTo>
                  <a:lnTo>
                    <a:pt x="10734" y="2074"/>
                  </a:lnTo>
                  <a:lnTo>
                    <a:pt x="10712" y="2056"/>
                  </a:lnTo>
                  <a:lnTo>
                    <a:pt x="10690" y="2038"/>
                  </a:lnTo>
                  <a:lnTo>
                    <a:pt x="10667" y="2021"/>
                  </a:lnTo>
                  <a:lnTo>
                    <a:pt x="10619" y="1986"/>
                  </a:lnTo>
                  <a:lnTo>
                    <a:pt x="10568" y="1953"/>
                  </a:lnTo>
                  <a:lnTo>
                    <a:pt x="10517" y="1921"/>
                  </a:lnTo>
                  <a:lnTo>
                    <a:pt x="10466" y="1891"/>
                  </a:lnTo>
                  <a:lnTo>
                    <a:pt x="10416" y="1862"/>
                  </a:lnTo>
                  <a:lnTo>
                    <a:pt x="10370" y="1838"/>
                  </a:lnTo>
                  <a:lnTo>
                    <a:pt x="10328" y="1814"/>
                  </a:lnTo>
                  <a:lnTo>
                    <a:pt x="10291" y="1794"/>
                  </a:lnTo>
                  <a:lnTo>
                    <a:pt x="10260" y="1775"/>
                  </a:lnTo>
                  <a:lnTo>
                    <a:pt x="10238" y="1761"/>
                  </a:lnTo>
                  <a:lnTo>
                    <a:pt x="10225" y="1751"/>
                  </a:lnTo>
                  <a:lnTo>
                    <a:pt x="10210" y="1735"/>
                  </a:lnTo>
                  <a:lnTo>
                    <a:pt x="10190" y="1714"/>
                  </a:lnTo>
                  <a:lnTo>
                    <a:pt x="10169" y="1690"/>
                  </a:lnTo>
                  <a:lnTo>
                    <a:pt x="10145" y="1661"/>
                  </a:lnTo>
                  <a:lnTo>
                    <a:pt x="10119" y="1629"/>
                  </a:lnTo>
                  <a:lnTo>
                    <a:pt x="10091" y="1592"/>
                  </a:lnTo>
                  <a:lnTo>
                    <a:pt x="10060" y="1553"/>
                  </a:lnTo>
                  <a:lnTo>
                    <a:pt x="9996" y="1465"/>
                  </a:lnTo>
                  <a:lnTo>
                    <a:pt x="9926" y="1369"/>
                  </a:lnTo>
                  <a:lnTo>
                    <a:pt x="9854" y="1266"/>
                  </a:lnTo>
                  <a:lnTo>
                    <a:pt x="9780" y="1160"/>
                  </a:lnTo>
                  <a:lnTo>
                    <a:pt x="9707" y="1051"/>
                  </a:lnTo>
                  <a:lnTo>
                    <a:pt x="9636" y="944"/>
                  </a:lnTo>
                  <a:lnTo>
                    <a:pt x="9568" y="841"/>
                  </a:lnTo>
                  <a:lnTo>
                    <a:pt x="9507" y="744"/>
                  </a:lnTo>
                  <a:lnTo>
                    <a:pt x="9453" y="657"/>
                  </a:lnTo>
                  <a:lnTo>
                    <a:pt x="9407" y="580"/>
                  </a:lnTo>
                  <a:lnTo>
                    <a:pt x="9388" y="547"/>
                  </a:lnTo>
                  <a:lnTo>
                    <a:pt x="9373" y="518"/>
                  </a:lnTo>
                  <a:lnTo>
                    <a:pt x="9360" y="492"/>
                  </a:lnTo>
                  <a:lnTo>
                    <a:pt x="9351" y="472"/>
                  </a:lnTo>
                  <a:lnTo>
                    <a:pt x="9306" y="466"/>
                  </a:lnTo>
                  <a:lnTo>
                    <a:pt x="9265" y="462"/>
                  </a:lnTo>
                  <a:lnTo>
                    <a:pt x="9231" y="458"/>
                  </a:lnTo>
                  <a:lnTo>
                    <a:pt x="9201" y="455"/>
                  </a:lnTo>
                  <a:lnTo>
                    <a:pt x="9176" y="416"/>
                  </a:lnTo>
                  <a:lnTo>
                    <a:pt x="9153" y="380"/>
                  </a:lnTo>
                  <a:lnTo>
                    <a:pt x="9132" y="346"/>
                  </a:lnTo>
                  <a:lnTo>
                    <a:pt x="9112" y="315"/>
                  </a:lnTo>
                  <a:lnTo>
                    <a:pt x="9093" y="284"/>
                  </a:lnTo>
                  <a:lnTo>
                    <a:pt x="9076" y="256"/>
                  </a:lnTo>
                  <a:lnTo>
                    <a:pt x="9060" y="230"/>
                  </a:lnTo>
                  <a:lnTo>
                    <a:pt x="9047" y="205"/>
                  </a:lnTo>
                  <a:lnTo>
                    <a:pt x="9016" y="155"/>
                  </a:lnTo>
                  <a:lnTo>
                    <a:pt x="8990" y="114"/>
                  </a:lnTo>
                  <a:lnTo>
                    <a:pt x="8978" y="94"/>
                  </a:lnTo>
                  <a:lnTo>
                    <a:pt x="8966" y="78"/>
                  </a:lnTo>
                  <a:lnTo>
                    <a:pt x="8954" y="62"/>
                  </a:lnTo>
                  <a:lnTo>
                    <a:pt x="8942" y="48"/>
                  </a:lnTo>
                  <a:lnTo>
                    <a:pt x="8931" y="36"/>
                  </a:lnTo>
                  <a:lnTo>
                    <a:pt x="8918" y="26"/>
                  </a:lnTo>
                  <a:lnTo>
                    <a:pt x="8907" y="18"/>
                  </a:lnTo>
                  <a:lnTo>
                    <a:pt x="8894" y="10"/>
                  </a:lnTo>
                  <a:lnTo>
                    <a:pt x="8881" y="5"/>
                  </a:lnTo>
                  <a:lnTo>
                    <a:pt x="8867" y="2"/>
                  </a:lnTo>
                  <a:lnTo>
                    <a:pt x="8853" y="0"/>
                  </a:lnTo>
                  <a:lnTo>
                    <a:pt x="8838" y="0"/>
                  </a:lnTo>
                  <a:lnTo>
                    <a:pt x="8827" y="2"/>
                  </a:lnTo>
                  <a:lnTo>
                    <a:pt x="8816" y="5"/>
                  </a:lnTo>
                  <a:lnTo>
                    <a:pt x="8805" y="11"/>
                  </a:lnTo>
                  <a:lnTo>
                    <a:pt x="8793" y="18"/>
                  </a:lnTo>
                  <a:lnTo>
                    <a:pt x="8781" y="28"/>
                  </a:lnTo>
                  <a:lnTo>
                    <a:pt x="8769" y="38"/>
                  </a:lnTo>
                  <a:lnTo>
                    <a:pt x="8758" y="50"/>
                  </a:lnTo>
                  <a:lnTo>
                    <a:pt x="8745" y="64"/>
                  </a:lnTo>
                  <a:lnTo>
                    <a:pt x="8733" y="79"/>
                  </a:lnTo>
                  <a:lnTo>
                    <a:pt x="8719" y="94"/>
                  </a:lnTo>
                  <a:lnTo>
                    <a:pt x="8707" y="111"/>
                  </a:lnTo>
                  <a:lnTo>
                    <a:pt x="8694" y="129"/>
                  </a:lnTo>
                  <a:lnTo>
                    <a:pt x="8670" y="167"/>
                  </a:lnTo>
                  <a:lnTo>
                    <a:pt x="8645" y="206"/>
                  </a:lnTo>
                  <a:lnTo>
                    <a:pt x="8621" y="247"/>
                  </a:lnTo>
                  <a:lnTo>
                    <a:pt x="8598" y="288"/>
                  </a:lnTo>
                  <a:lnTo>
                    <a:pt x="8577" y="327"/>
                  </a:lnTo>
                  <a:lnTo>
                    <a:pt x="8557" y="364"/>
                  </a:lnTo>
                  <a:lnTo>
                    <a:pt x="8523" y="431"/>
                  </a:lnTo>
                  <a:lnTo>
                    <a:pt x="8498" y="477"/>
                  </a:lnTo>
                  <a:lnTo>
                    <a:pt x="8490" y="491"/>
                  </a:lnTo>
                  <a:lnTo>
                    <a:pt x="8481" y="506"/>
                  </a:lnTo>
                  <a:lnTo>
                    <a:pt x="8472" y="519"/>
                  </a:lnTo>
                  <a:lnTo>
                    <a:pt x="8463" y="534"/>
                  </a:lnTo>
                  <a:lnTo>
                    <a:pt x="8465" y="536"/>
                  </a:lnTo>
                  <a:lnTo>
                    <a:pt x="8404" y="645"/>
                  </a:lnTo>
                  <a:lnTo>
                    <a:pt x="8336" y="763"/>
                  </a:lnTo>
                  <a:lnTo>
                    <a:pt x="8263" y="888"/>
                  </a:lnTo>
                  <a:lnTo>
                    <a:pt x="8186" y="1017"/>
                  </a:lnTo>
                  <a:lnTo>
                    <a:pt x="8107" y="1151"/>
                  </a:lnTo>
                  <a:lnTo>
                    <a:pt x="8027" y="1285"/>
                  </a:lnTo>
                  <a:lnTo>
                    <a:pt x="7945" y="1418"/>
                  </a:lnTo>
                  <a:lnTo>
                    <a:pt x="7865" y="1550"/>
                  </a:lnTo>
                  <a:lnTo>
                    <a:pt x="7788" y="1676"/>
                  </a:lnTo>
                  <a:lnTo>
                    <a:pt x="7714" y="1796"/>
                  </a:lnTo>
                  <a:lnTo>
                    <a:pt x="7644" y="1908"/>
                  </a:lnTo>
                  <a:lnTo>
                    <a:pt x="7579" y="2008"/>
                  </a:lnTo>
                  <a:lnTo>
                    <a:pt x="7523" y="2097"/>
                  </a:lnTo>
                  <a:lnTo>
                    <a:pt x="7473" y="2172"/>
                  </a:lnTo>
                  <a:lnTo>
                    <a:pt x="7433" y="2230"/>
                  </a:lnTo>
                  <a:lnTo>
                    <a:pt x="7405" y="2270"/>
                  </a:lnTo>
                  <a:lnTo>
                    <a:pt x="7108" y="2254"/>
                  </a:lnTo>
                  <a:lnTo>
                    <a:pt x="6980" y="2428"/>
                  </a:lnTo>
                  <a:lnTo>
                    <a:pt x="6941" y="2416"/>
                  </a:lnTo>
                  <a:lnTo>
                    <a:pt x="6904" y="2402"/>
                  </a:lnTo>
                  <a:lnTo>
                    <a:pt x="6869" y="2389"/>
                  </a:lnTo>
                  <a:lnTo>
                    <a:pt x="6836" y="2373"/>
                  </a:lnTo>
                  <a:lnTo>
                    <a:pt x="6804" y="2358"/>
                  </a:lnTo>
                  <a:lnTo>
                    <a:pt x="6774" y="2341"/>
                  </a:lnTo>
                  <a:lnTo>
                    <a:pt x="6745" y="2324"/>
                  </a:lnTo>
                  <a:lnTo>
                    <a:pt x="6719" y="2308"/>
                  </a:lnTo>
                  <a:lnTo>
                    <a:pt x="6693" y="2289"/>
                  </a:lnTo>
                  <a:lnTo>
                    <a:pt x="6670" y="2270"/>
                  </a:lnTo>
                  <a:lnTo>
                    <a:pt x="6647" y="2252"/>
                  </a:lnTo>
                  <a:lnTo>
                    <a:pt x="6624" y="2233"/>
                  </a:lnTo>
                  <a:lnTo>
                    <a:pt x="6604" y="2213"/>
                  </a:lnTo>
                  <a:lnTo>
                    <a:pt x="6584" y="2192"/>
                  </a:lnTo>
                  <a:lnTo>
                    <a:pt x="6565" y="2173"/>
                  </a:lnTo>
                  <a:lnTo>
                    <a:pt x="6546" y="2152"/>
                  </a:lnTo>
                  <a:lnTo>
                    <a:pt x="6476" y="2069"/>
                  </a:lnTo>
                  <a:lnTo>
                    <a:pt x="6410" y="1986"/>
                  </a:lnTo>
                  <a:lnTo>
                    <a:pt x="6376" y="1945"/>
                  </a:lnTo>
                  <a:lnTo>
                    <a:pt x="6340" y="1904"/>
                  </a:lnTo>
                  <a:lnTo>
                    <a:pt x="6321" y="1885"/>
                  </a:lnTo>
                  <a:lnTo>
                    <a:pt x="6300" y="1866"/>
                  </a:lnTo>
                  <a:lnTo>
                    <a:pt x="6280" y="1847"/>
                  </a:lnTo>
                  <a:lnTo>
                    <a:pt x="6258" y="1829"/>
                  </a:lnTo>
                  <a:lnTo>
                    <a:pt x="6237" y="1810"/>
                  </a:lnTo>
                  <a:lnTo>
                    <a:pt x="6217" y="1791"/>
                  </a:lnTo>
                  <a:lnTo>
                    <a:pt x="6196" y="1770"/>
                  </a:lnTo>
                  <a:lnTo>
                    <a:pt x="6176" y="1747"/>
                  </a:lnTo>
                  <a:lnTo>
                    <a:pt x="6135" y="1700"/>
                  </a:lnTo>
                  <a:lnTo>
                    <a:pt x="6095" y="1650"/>
                  </a:lnTo>
                  <a:lnTo>
                    <a:pt x="6054" y="1598"/>
                  </a:lnTo>
                  <a:lnTo>
                    <a:pt x="6013" y="1547"/>
                  </a:lnTo>
                  <a:lnTo>
                    <a:pt x="5993" y="1521"/>
                  </a:lnTo>
                  <a:lnTo>
                    <a:pt x="5971" y="1498"/>
                  </a:lnTo>
                  <a:lnTo>
                    <a:pt x="5950" y="1474"/>
                  </a:lnTo>
                  <a:lnTo>
                    <a:pt x="5930" y="1450"/>
                  </a:lnTo>
                  <a:lnTo>
                    <a:pt x="5908" y="1429"/>
                  </a:lnTo>
                  <a:lnTo>
                    <a:pt x="5886" y="1408"/>
                  </a:lnTo>
                  <a:lnTo>
                    <a:pt x="5864" y="1390"/>
                  </a:lnTo>
                  <a:lnTo>
                    <a:pt x="5841" y="1373"/>
                  </a:lnTo>
                  <a:lnTo>
                    <a:pt x="5819" y="1357"/>
                  </a:lnTo>
                  <a:lnTo>
                    <a:pt x="5795" y="1344"/>
                  </a:lnTo>
                  <a:lnTo>
                    <a:pt x="5771" y="1334"/>
                  </a:lnTo>
                  <a:lnTo>
                    <a:pt x="5748" y="1325"/>
                  </a:lnTo>
                  <a:lnTo>
                    <a:pt x="5723" y="1319"/>
                  </a:lnTo>
                  <a:lnTo>
                    <a:pt x="5697" y="1317"/>
                  </a:lnTo>
                  <a:lnTo>
                    <a:pt x="5672" y="1317"/>
                  </a:lnTo>
                  <a:lnTo>
                    <a:pt x="5645" y="1319"/>
                  </a:lnTo>
                  <a:lnTo>
                    <a:pt x="5619" y="1326"/>
                  </a:lnTo>
                  <a:lnTo>
                    <a:pt x="5591" y="1336"/>
                  </a:lnTo>
                  <a:lnTo>
                    <a:pt x="5562" y="1350"/>
                  </a:lnTo>
                  <a:lnTo>
                    <a:pt x="5534" y="1368"/>
                  </a:lnTo>
                  <a:lnTo>
                    <a:pt x="5506" y="1388"/>
                  </a:lnTo>
                  <a:lnTo>
                    <a:pt x="5478" y="1413"/>
                  </a:lnTo>
                  <a:lnTo>
                    <a:pt x="5448" y="1441"/>
                  </a:lnTo>
                  <a:lnTo>
                    <a:pt x="5418" y="1473"/>
                  </a:lnTo>
                  <a:lnTo>
                    <a:pt x="5386" y="1507"/>
                  </a:lnTo>
                  <a:lnTo>
                    <a:pt x="5354" y="1544"/>
                  </a:lnTo>
                  <a:lnTo>
                    <a:pt x="5322" y="1583"/>
                  </a:lnTo>
                  <a:lnTo>
                    <a:pt x="5288" y="1625"/>
                  </a:lnTo>
                  <a:lnTo>
                    <a:pt x="5220" y="1713"/>
                  </a:lnTo>
                  <a:lnTo>
                    <a:pt x="5149" y="1806"/>
                  </a:lnTo>
                  <a:lnTo>
                    <a:pt x="5077" y="1900"/>
                  </a:lnTo>
                  <a:lnTo>
                    <a:pt x="5004" y="1992"/>
                  </a:lnTo>
                  <a:lnTo>
                    <a:pt x="4967" y="2039"/>
                  </a:lnTo>
                  <a:lnTo>
                    <a:pt x="4931" y="2083"/>
                  </a:lnTo>
                  <a:lnTo>
                    <a:pt x="4893" y="2125"/>
                  </a:lnTo>
                  <a:lnTo>
                    <a:pt x="4856" y="2165"/>
                  </a:lnTo>
                  <a:lnTo>
                    <a:pt x="4820" y="2205"/>
                  </a:lnTo>
                  <a:lnTo>
                    <a:pt x="4783" y="2240"/>
                  </a:lnTo>
                  <a:lnTo>
                    <a:pt x="4747" y="2274"/>
                  </a:lnTo>
                  <a:lnTo>
                    <a:pt x="4710" y="2303"/>
                  </a:lnTo>
                  <a:lnTo>
                    <a:pt x="4674" y="2330"/>
                  </a:lnTo>
                  <a:lnTo>
                    <a:pt x="4639" y="2353"/>
                  </a:lnTo>
                  <a:lnTo>
                    <a:pt x="4604" y="2371"/>
                  </a:lnTo>
                  <a:lnTo>
                    <a:pt x="4569" y="2384"/>
                  </a:lnTo>
                  <a:lnTo>
                    <a:pt x="4535" y="2393"/>
                  </a:lnTo>
                  <a:lnTo>
                    <a:pt x="4501" y="2398"/>
                  </a:lnTo>
                  <a:lnTo>
                    <a:pt x="4469" y="2396"/>
                  </a:lnTo>
                  <a:lnTo>
                    <a:pt x="4437" y="2389"/>
                  </a:lnTo>
                  <a:lnTo>
                    <a:pt x="4417" y="2381"/>
                  </a:lnTo>
                  <a:lnTo>
                    <a:pt x="4395" y="2370"/>
                  </a:lnTo>
                  <a:lnTo>
                    <a:pt x="4374" y="2356"/>
                  </a:lnTo>
                  <a:lnTo>
                    <a:pt x="4350" y="2340"/>
                  </a:lnTo>
                  <a:lnTo>
                    <a:pt x="4326" y="2321"/>
                  </a:lnTo>
                  <a:lnTo>
                    <a:pt x="4300" y="2301"/>
                  </a:lnTo>
                  <a:lnTo>
                    <a:pt x="4274" y="2277"/>
                  </a:lnTo>
                  <a:lnTo>
                    <a:pt x="4248" y="2252"/>
                  </a:lnTo>
                  <a:lnTo>
                    <a:pt x="4220" y="2225"/>
                  </a:lnTo>
                  <a:lnTo>
                    <a:pt x="4193" y="2197"/>
                  </a:lnTo>
                  <a:lnTo>
                    <a:pt x="4165" y="2167"/>
                  </a:lnTo>
                  <a:lnTo>
                    <a:pt x="4135" y="2136"/>
                  </a:lnTo>
                  <a:lnTo>
                    <a:pt x="4078" y="2070"/>
                  </a:lnTo>
                  <a:lnTo>
                    <a:pt x="4019" y="2000"/>
                  </a:lnTo>
                  <a:lnTo>
                    <a:pt x="3960" y="1929"/>
                  </a:lnTo>
                  <a:lnTo>
                    <a:pt x="3903" y="1858"/>
                  </a:lnTo>
                  <a:lnTo>
                    <a:pt x="3847" y="1787"/>
                  </a:lnTo>
                  <a:lnTo>
                    <a:pt x="3794" y="1718"/>
                  </a:lnTo>
                  <a:lnTo>
                    <a:pt x="3744" y="1653"/>
                  </a:lnTo>
                  <a:lnTo>
                    <a:pt x="3698" y="1592"/>
                  </a:lnTo>
                  <a:lnTo>
                    <a:pt x="3656" y="1537"/>
                  </a:lnTo>
                  <a:lnTo>
                    <a:pt x="3620" y="1491"/>
                  </a:lnTo>
                  <a:lnTo>
                    <a:pt x="3593" y="1456"/>
                  </a:lnTo>
                  <a:lnTo>
                    <a:pt x="3568" y="1426"/>
                  </a:lnTo>
                  <a:lnTo>
                    <a:pt x="3544" y="1400"/>
                  </a:lnTo>
                  <a:lnTo>
                    <a:pt x="3522" y="1379"/>
                  </a:lnTo>
                  <a:lnTo>
                    <a:pt x="3501" y="1361"/>
                  </a:lnTo>
                  <a:lnTo>
                    <a:pt x="3483" y="1346"/>
                  </a:lnTo>
                  <a:lnTo>
                    <a:pt x="3465" y="1334"/>
                  </a:lnTo>
                  <a:lnTo>
                    <a:pt x="3450" y="1326"/>
                  </a:lnTo>
                  <a:lnTo>
                    <a:pt x="3434" y="1320"/>
                  </a:lnTo>
                  <a:lnTo>
                    <a:pt x="3419" y="1317"/>
                  </a:lnTo>
                  <a:lnTo>
                    <a:pt x="3405" y="1317"/>
                  </a:lnTo>
                  <a:lnTo>
                    <a:pt x="3393" y="1318"/>
                  </a:lnTo>
                  <a:lnTo>
                    <a:pt x="3381" y="1322"/>
                  </a:lnTo>
                  <a:lnTo>
                    <a:pt x="3368" y="1328"/>
                  </a:lnTo>
                  <a:lnTo>
                    <a:pt x="3357" y="1335"/>
                  </a:lnTo>
                  <a:lnTo>
                    <a:pt x="3346" y="1344"/>
                  </a:lnTo>
                  <a:lnTo>
                    <a:pt x="3323" y="1364"/>
                  </a:lnTo>
                  <a:lnTo>
                    <a:pt x="3300" y="1389"/>
                  </a:lnTo>
                  <a:lnTo>
                    <a:pt x="3276" y="1415"/>
                  </a:lnTo>
                  <a:lnTo>
                    <a:pt x="3248" y="1441"/>
                  </a:lnTo>
                  <a:lnTo>
                    <a:pt x="3233" y="1453"/>
                  </a:lnTo>
                  <a:lnTo>
                    <a:pt x="3217" y="1465"/>
                  </a:lnTo>
                  <a:lnTo>
                    <a:pt x="3200" y="1476"/>
                  </a:lnTo>
                  <a:lnTo>
                    <a:pt x="3182" y="1486"/>
                  </a:lnTo>
                  <a:lnTo>
                    <a:pt x="3163" y="1495"/>
                  </a:lnTo>
                  <a:lnTo>
                    <a:pt x="3141" y="1503"/>
                  </a:lnTo>
                  <a:lnTo>
                    <a:pt x="3118" y="1509"/>
                  </a:lnTo>
                  <a:lnTo>
                    <a:pt x="3094" y="1513"/>
                  </a:lnTo>
                  <a:lnTo>
                    <a:pt x="3057" y="1519"/>
                  </a:lnTo>
                  <a:lnTo>
                    <a:pt x="3024" y="1524"/>
                  </a:lnTo>
                  <a:lnTo>
                    <a:pt x="2992" y="1529"/>
                  </a:lnTo>
                  <a:lnTo>
                    <a:pt x="2963" y="1535"/>
                  </a:lnTo>
                  <a:lnTo>
                    <a:pt x="2937" y="1540"/>
                  </a:lnTo>
                  <a:lnTo>
                    <a:pt x="2911" y="1547"/>
                  </a:lnTo>
                  <a:lnTo>
                    <a:pt x="2888" y="1554"/>
                  </a:lnTo>
                  <a:lnTo>
                    <a:pt x="2866" y="1561"/>
                  </a:lnTo>
                  <a:lnTo>
                    <a:pt x="2846" y="1570"/>
                  </a:lnTo>
                  <a:lnTo>
                    <a:pt x="2827" y="1579"/>
                  </a:lnTo>
                  <a:lnTo>
                    <a:pt x="2809" y="1589"/>
                  </a:lnTo>
                  <a:lnTo>
                    <a:pt x="2792" y="1599"/>
                  </a:lnTo>
                  <a:lnTo>
                    <a:pt x="2776" y="1612"/>
                  </a:lnTo>
                  <a:lnTo>
                    <a:pt x="2760" y="1625"/>
                  </a:lnTo>
                  <a:lnTo>
                    <a:pt x="2744" y="1639"/>
                  </a:lnTo>
                  <a:lnTo>
                    <a:pt x="2730" y="1655"/>
                  </a:lnTo>
                  <a:lnTo>
                    <a:pt x="2715" y="1672"/>
                  </a:lnTo>
                  <a:lnTo>
                    <a:pt x="2700" y="1690"/>
                  </a:lnTo>
                  <a:lnTo>
                    <a:pt x="2685" y="1710"/>
                  </a:lnTo>
                  <a:lnTo>
                    <a:pt x="2669" y="1731"/>
                  </a:lnTo>
                  <a:lnTo>
                    <a:pt x="2635" y="1780"/>
                  </a:lnTo>
                  <a:lnTo>
                    <a:pt x="2598" y="1836"/>
                  </a:lnTo>
                  <a:lnTo>
                    <a:pt x="2555" y="1901"/>
                  </a:lnTo>
                  <a:lnTo>
                    <a:pt x="2505" y="1973"/>
                  </a:lnTo>
                  <a:lnTo>
                    <a:pt x="2446" y="2056"/>
                  </a:lnTo>
                  <a:lnTo>
                    <a:pt x="2380" y="2149"/>
                  </a:lnTo>
                  <a:lnTo>
                    <a:pt x="2346" y="2149"/>
                  </a:lnTo>
                  <a:lnTo>
                    <a:pt x="2315" y="2148"/>
                  </a:lnTo>
                  <a:lnTo>
                    <a:pt x="2288" y="2145"/>
                  </a:lnTo>
                  <a:lnTo>
                    <a:pt x="2264" y="2140"/>
                  </a:lnTo>
                  <a:lnTo>
                    <a:pt x="2243" y="2135"/>
                  </a:lnTo>
                  <a:lnTo>
                    <a:pt x="2224" y="2127"/>
                  </a:lnTo>
                  <a:lnTo>
                    <a:pt x="2207" y="2119"/>
                  </a:lnTo>
                  <a:lnTo>
                    <a:pt x="2191" y="2111"/>
                  </a:lnTo>
                  <a:lnTo>
                    <a:pt x="2177" y="2102"/>
                  </a:lnTo>
                  <a:lnTo>
                    <a:pt x="2166" y="2093"/>
                  </a:lnTo>
                  <a:lnTo>
                    <a:pt x="2155" y="2085"/>
                  </a:lnTo>
                  <a:lnTo>
                    <a:pt x="2145" y="2076"/>
                  </a:lnTo>
                  <a:lnTo>
                    <a:pt x="2135" y="2068"/>
                  </a:lnTo>
                  <a:lnTo>
                    <a:pt x="2126" y="2061"/>
                  </a:lnTo>
                  <a:lnTo>
                    <a:pt x="2117" y="2056"/>
                  </a:lnTo>
                  <a:lnTo>
                    <a:pt x="2108" y="2051"/>
                  </a:lnTo>
                  <a:lnTo>
                    <a:pt x="2099" y="2048"/>
                  </a:lnTo>
                  <a:lnTo>
                    <a:pt x="2089" y="2047"/>
                  </a:lnTo>
                  <a:lnTo>
                    <a:pt x="2078" y="2047"/>
                  </a:lnTo>
                  <a:lnTo>
                    <a:pt x="2065" y="2050"/>
                  </a:lnTo>
                  <a:lnTo>
                    <a:pt x="2052" y="2054"/>
                  </a:lnTo>
                  <a:lnTo>
                    <a:pt x="2037" y="2062"/>
                  </a:lnTo>
                  <a:lnTo>
                    <a:pt x="2020" y="2074"/>
                  </a:lnTo>
                  <a:lnTo>
                    <a:pt x="2001" y="2087"/>
                  </a:lnTo>
                  <a:lnTo>
                    <a:pt x="1980" y="2105"/>
                  </a:lnTo>
                  <a:lnTo>
                    <a:pt x="1955" y="2126"/>
                  </a:lnTo>
                  <a:lnTo>
                    <a:pt x="1928" y="2151"/>
                  </a:lnTo>
                  <a:lnTo>
                    <a:pt x="1898" y="2179"/>
                  </a:lnTo>
                  <a:lnTo>
                    <a:pt x="1827" y="2250"/>
                  </a:lnTo>
                  <a:lnTo>
                    <a:pt x="1740" y="2339"/>
                  </a:lnTo>
                  <a:lnTo>
                    <a:pt x="1684" y="2399"/>
                  </a:lnTo>
                  <a:lnTo>
                    <a:pt x="1635" y="2453"/>
                  </a:lnTo>
                  <a:lnTo>
                    <a:pt x="1593" y="2502"/>
                  </a:lnTo>
                  <a:lnTo>
                    <a:pt x="1557" y="2545"/>
                  </a:lnTo>
                  <a:lnTo>
                    <a:pt x="1524" y="2581"/>
                  </a:lnTo>
                  <a:lnTo>
                    <a:pt x="1495" y="2613"/>
                  </a:lnTo>
                  <a:lnTo>
                    <a:pt x="1480" y="2626"/>
                  </a:lnTo>
                  <a:lnTo>
                    <a:pt x="1467" y="2639"/>
                  </a:lnTo>
                  <a:lnTo>
                    <a:pt x="1453" y="2650"/>
                  </a:lnTo>
                  <a:lnTo>
                    <a:pt x="1439" y="2660"/>
                  </a:lnTo>
                  <a:lnTo>
                    <a:pt x="1426" y="2668"/>
                  </a:lnTo>
                  <a:lnTo>
                    <a:pt x="1412" y="2675"/>
                  </a:lnTo>
                  <a:lnTo>
                    <a:pt x="1398" y="2680"/>
                  </a:lnTo>
                  <a:lnTo>
                    <a:pt x="1383" y="2685"/>
                  </a:lnTo>
                  <a:lnTo>
                    <a:pt x="1367" y="2688"/>
                  </a:lnTo>
                  <a:lnTo>
                    <a:pt x="1350" y="2691"/>
                  </a:lnTo>
                  <a:lnTo>
                    <a:pt x="1333" y="2692"/>
                  </a:lnTo>
                  <a:lnTo>
                    <a:pt x="1314" y="2692"/>
                  </a:lnTo>
                  <a:lnTo>
                    <a:pt x="1294" y="2691"/>
                  </a:lnTo>
                  <a:lnTo>
                    <a:pt x="1272" y="2687"/>
                  </a:lnTo>
                  <a:lnTo>
                    <a:pt x="1249" y="2684"/>
                  </a:lnTo>
                  <a:lnTo>
                    <a:pt x="1224" y="2679"/>
                  </a:lnTo>
                  <a:lnTo>
                    <a:pt x="1168" y="2666"/>
                  </a:lnTo>
                  <a:lnTo>
                    <a:pt x="1103" y="2648"/>
                  </a:lnTo>
                  <a:lnTo>
                    <a:pt x="1094" y="2660"/>
                  </a:lnTo>
                  <a:lnTo>
                    <a:pt x="1080" y="2676"/>
                  </a:lnTo>
                  <a:lnTo>
                    <a:pt x="1062" y="2695"/>
                  </a:lnTo>
                  <a:lnTo>
                    <a:pt x="1041" y="2719"/>
                  </a:lnTo>
                  <a:lnTo>
                    <a:pt x="986" y="2773"/>
                  </a:lnTo>
                  <a:lnTo>
                    <a:pt x="920" y="2838"/>
                  </a:lnTo>
                  <a:lnTo>
                    <a:pt x="843" y="2912"/>
                  </a:lnTo>
                  <a:lnTo>
                    <a:pt x="759" y="2991"/>
                  </a:lnTo>
                  <a:lnTo>
                    <a:pt x="670" y="3075"/>
                  </a:lnTo>
                  <a:lnTo>
                    <a:pt x="578" y="3158"/>
                  </a:lnTo>
                  <a:lnTo>
                    <a:pt x="486" y="3243"/>
                  </a:lnTo>
                  <a:lnTo>
                    <a:pt x="395" y="3324"/>
                  </a:lnTo>
                  <a:lnTo>
                    <a:pt x="308" y="3400"/>
                  </a:lnTo>
                  <a:lnTo>
                    <a:pt x="228" y="3469"/>
                  </a:lnTo>
                  <a:lnTo>
                    <a:pt x="156" y="3529"/>
                  </a:lnTo>
                  <a:lnTo>
                    <a:pt x="95" y="3577"/>
                  </a:lnTo>
                  <a:lnTo>
                    <a:pt x="70" y="3597"/>
                  </a:lnTo>
                  <a:lnTo>
                    <a:pt x="47" y="3612"/>
                  </a:lnTo>
                  <a:lnTo>
                    <a:pt x="29" y="3624"/>
                  </a:lnTo>
                  <a:lnTo>
                    <a:pt x="16" y="3632"/>
                  </a:lnTo>
                  <a:lnTo>
                    <a:pt x="0" y="3686"/>
                  </a:lnTo>
                  <a:lnTo>
                    <a:pt x="21" y="3685"/>
                  </a:lnTo>
                  <a:lnTo>
                    <a:pt x="45" y="3681"/>
                  </a:lnTo>
                  <a:lnTo>
                    <a:pt x="70" y="3673"/>
                  </a:lnTo>
                  <a:lnTo>
                    <a:pt x="97" y="3664"/>
                  </a:lnTo>
                  <a:lnTo>
                    <a:pt x="125" y="3651"/>
                  </a:lnTo>
                  <a:lnTo>
                    <a:pt x="155" y="3636"/>
                  </a:lnTo>
                  <a:lnTo>
                    <a:pt x="186" y="3619"/>
                  </a:lnTo>
                  <a:lnTo>
                    <a:pt x="219" y="3599"/>
                  </a:lnTo>
                  <a:lnTo>
                    <a:pt x="252" y="3577"/>
                  </a:lnTo>
                  <a:lnTo>
                    <a:pt x="287" y="3555"/>
                  </a:lnTo>
                  <a:lnTo>
                    <a:pt x="322" y="3530"/>
                  </a:lnTo>
                  <a:lnTo>
                    <a:pt x="357" y="3504"/>
                  </a:lnTo>
                  <a:lnTo>
                    <a:pt x="430" y="3450"/>
                  </a:lnTo>
                  <a:lnTo>
                    <a:pt x="505" y="3392"/>
                  </a:lnTo>
                  <a:lnTo>
                    <a:pt x="581" y="3332"/>
                  </a:lnTo>
                  <a:lnTo>
                    <a:pt x="654" y="3273"/>
                  </a:lnTo>
                  <a:lnTo>
                    <a:pt x="728" y="3216"/>
                  </a:lnTo>
                  <a:lnTo>
                    <a:pt x="798" y="3162"/>
                  </a:lnTo>
                  <a:lnTo>
                    <a:pt x="830" y="3137"/>
                  </a:lnTo>
                  <a:lnTo>
                    <a:pt x="863" y="3113"/>
                  </a:lnTo>
                  <a:lnTo>
                    <a:pt x="895" y="3090"/>
                  </a:lnTo>
                  <a:lnTo>
                    <a:pt x="925" y="3069"/>
                  </a:lnTo>
                  <a:lnTo>
                    <a:pt x="955" y="3051"/>
                  </a:lnTo>
                  <a:lnTo>
                    <a:pt x="982" y="3034"/>
                  </a:lnTo>
                  <a:lnTo>
                    <a:pt x="1008" y="3019"/>
                  </a:lnTo>
                  <a:lnTo>
                    <a:pt x="1032" y="3008"/>
                  </a:lnTo>
                  <a:lnTo>
                    <a:pt x="1051" y="3000"/>
                  </a:lnTo>
                  <a:lnTo>
                    <a:pt x="1069" y="2994"/>
                  </a:lnTo>
                  <a:lnTo>
                    <a:pt x="1087" y="2990"/>
                  </a:lnTo>
                  <a:lnTo>
                    <a:pt x="1105" y="2986"/>
                  </a:lnTo>
                  <a:lnTo>
                    <a:pt x="1122" y="2984"/>
                  </a:lnTo>
                  <a:lnTo>
                    <a:pt x="1140" y="2984"/>
                  </a:lnTo>
                  <a:lnTo>
                    <a:pt x="1157" y="2984"/>
                  </a:lnTo>
                  <a:lnTo>
                    <a:pt x="1173" y="2984"/>
                  </a:lnTo>
                  <a:lnTo>
                    <a:pt x="1239" y="2993"/>
                  </a:lnTo>
                  <a:lnTo>
                    <a:pt x="1306" y="3000"/>
                  </a:lnTo>
                  <a:lnTo>
                    <a:pt x="1323" y="3001"/>
                  </a:lnTo>
                  <a:lnTo>
                    <a:pt x="1341" y="3001"/>
                  </a:lnTo>
                  <a:lnTo>
                    <a:pt x="1359" y="3000"/>
                  </a:lnTo>
                  <a:lnTo>
                    <a:pt x="1377" y="2998"/>
                  </a:lnTo>
                  <a:lnTo>
                    <a:pt x="1395" y="2993"/>
                  </a:lnTo>
                  <a:lnTo>
                    <a:pt x="1415" y="2989"/>
                  </a:lnTo>
                  <a:lnTo>
                    <a:pt x="1435" y="2982"/>
                  </a:lnTo>
                  <a:lnTo>
                    <a:pt x="1455" y="2973"/>
                  </a:lnTo>
                  <a:lnTo>
                    <a:pt x="1476" y="2963"/>
                  </a:lnTo>
                  <a:lnTo>
                    <a:pt x="1497" y="2950"/>
                  </a:lnTo>
                  <a:lnTo>
                    <a:pt x="1520" y="2936"/>
                  </a:lnTo>
                  <a:lnTo>
                    <a:pt x="1542" y="2919"/>
                  </a:lnTo>
                  <a:lnTo>
                    <a:pt x="1567" y="2898"/>
                  </a:lnTo>
                  <a:lnTo>
                    <a:pt x="1591" y="2876"/>
                  </a:lnTo>
                  <a:lnTo>
                    <a:pt x="1617" y="2851"/>
                  </a:lnTo>
                  <a:lnTo>
                    <a:pt x="1644" y="2822"/>
                  </a:lnTo>
                  <a:lnTo>
                    <a:pt x="1682" y="2776"/>
                  </a:lnTo>
                  <a:lnTo>
                    <a:pt x="1731" y="2715"/>
                  </a:lnTo>
                  <a:lnTo>
                    <a:pt x="1786" y="2645"/>
                  </a:lnTo>
                  <a:lnTo>
                    <a:pt x="1845" y="2572"/>
                  </a:lnTo>
                  <a:lnTo>
                    <a:pt x="1904" y="2501"/>
                  </a:lnTo>
                  <a:lnTo>
                    <a:pt x="1957" y="2439"/>
                  </a:lnTo>
                  <a:lnTo>
                    <a:pt x="1982" y="2411"/>
                  </a:lnTo>
                  <a:lnTo>
                    <a:pt x="2003" y="2390"/>
                  </a:lnTo>
                  <a:lnTo>
                    <a:pt x="2013" y="2381"/>
                  </a:lnTo>
                  <a:lnTo>
                    <a:pt x="2022" y="2373"/>
                  </a:lnTo>
                  <a:lnTo>
                    <a:pt x="2030" y="2366"/>
                  </a:lnTo>
                  <a:lnTo>
                    <a:pt x="2038" y="2362"/>
                  </a:lnTo>
                  <a:lnTo>
                    <a:pt x="2054" y="2356"/>
                  </a:lnTo>
                  <a:lnTo>
                    <a:pt x="2069" y="2353"/>
                  </a:lnTo>
                  <a:lnTo>
                    <a:pt x="2083" y="2349"/>
                  </a:lnTo>
                  <a:lnTo>
                    <a:pt x="2098" y="2347"/>
                  </a:lnTo>
                  <a:lnTo>
                    <a:pt x="2113" y="2346"/>
                  </a:lnTo>
                  <a:lnTo>
                    <a:pt x="2126" y="2346"/>
                  </a:lnTo>
                  <a:lnTo>
                    <a:pt x="2140" y="2346"/>
                  </a:lnTo>
                  <a:lnTo>
                    <a:pt x="2154" y="2346"/>
                  </a:lnTo>
                  <a:lnTo>
                    <a:pt x="2203" y="2353"/>
                  </a:lnTo>
                  <a:lnTo>
                    <a:pt x="2250" y="2360"/>
                  </a:lnTo>
                  <a:lnTo>
                    <a:pt x="2261" y="2361"/>
                  </a:lnTo>
                  <a:lnTo>
                    <a:pt x="2272" y="2361"/>
                  </a:lnTo>
                  <a:lnTo>
                    <a:pt x="2283" y="2361"/>
                  </a:lnTo>
                  <a:lnTo>
                    <a:pt x="2295" y="2360"/>
                  </a:lnTo>
                  <a:lnTo>
                    <a:pt x="2305" y="2358"/>
                  </a:lnTo>
                  <a:lnTo>
                    <a:pt x="2316" y="2356"/>
                  </a:lnTo>
                  <a:lnTo>
                    <a:pt x="2328" y="2353"/>
                  </a:lnTo>
                  <a:lnTo>
                    <a:pt x="2339" y="2348"/>
                  </a:lnTo>
                  <a:lnTo>
                    <a:pt x="2350" y="2343"/>
                  </a:lnTo>
                  <a:lnTo>
                    <a:pt x="2361" y="2336"/>
                  </a:lnTo>
                  <a:lnTo>
                    <a:pt x="2373" y="2327"/>
                  </a:lnTo>
                  <a:lnTo>
                    <a:pt x="2384" y="2318"/>
                  </a:lnTo>
                  <a:lnTo>
                    <a:pt x="2396" y="2306"/>
                  </a:lnTo>
                  <a:lnTo>
                    <a:pt x="2408" y="2293"/>
                  </a:lnTo>
                  <a:lnTo>
                    <a:pt x="2420" y="2278"/>
                  </a:lnTo>
                  <a:lnTo>
                    <a:pt x="2433" y="2261"/>
                  </a:lnTo>
                  <a:lnTo>
                    <a:pt x="2476" y="2199"/>
                  </a:lnTo>
                  <a:lnTo>
                    <a:pt x="2530" y="2119"/>
                  </a:lnTo>
                  <a:lnTo>
                    <a:pt x="2560" y="2074"/>
                  </a:lnTo>
                  <a:lnTo>
                    <a:pt x="2593" y="2027"/>
                  </a:lnTo>
                  <a:lnTo>
                    <a:pt x="2628" y="1980"/>
                  </a:lnTo>
                  <a:lnTo>
                    <a:pt x="2664" y="1932"/>
                  </a:lnTo>
                  <a:lnTo>
                    <a:pt x="2700" y="1886"/>
                  </a:lnTo>
                  <a:lnTo>
                    <a:pt x="2738" y="1842"/>
                  </a:lnTo>
                  <a:lnTo>
                    <a:pt x="2756" y="1822"/>
                  </a:lnTo>
                  <a:lnTo>
                    <a:pt x="2774" y="1801"/>
                  </a:lnTo>
                  <a:lnTo>
                    <a:pt x="2793" y="1783"/>
                  </a:lnTo>
                  <a:lnTo>
                    <a:pt x="2811" y="1765"/>
                  </a:lnTo>
                  <a:lnTo>
                    <a:pt x="2829" y="1748"/>
                  </a:lnTo>
                  <a:lnTo>
                    <a:pt x="2847" y="1734"/>
                  </a:lnTo>
                  <a:lnTo>
                    <a:pt x="2864" y="1720"/>
                  </a:lnTo>
                  <a:lnTo>
                    <a:pt x="2882" y="1708"/>
                  </a:lnTo>
                  <a:lnTo>
                    <a:pt x="2899" y="1698"/>
                  </a:lnTo>
                  <a:lnTo>
                    <a:pt x="2916" y="1690"/>
                  </a:lnTo>
                  <a:lnTo>
                    <a:pt x="2932" y="1683"/>
                  </a:lnTo>
                  <a:lnTo>
                    <a:pt x="2948" y="1679"/>
                  </a:lnTo>
                  <a:lnTo>
                    <a:pt x="2964" y="1676"/>
                  </a:lnTo>
                  <a:lnTo>
                    <a:pt x="2979" y="1674"/>
                  </a:lnTo>
                  <a:lnTo>
                    <a:pt x="2995" y="1673"/>
                  </a:lnTo>
                  <a:lnTo>
                    <a:pt x="3011" y="1672"/>
                  </a:lnTo>
                  <a:lnTo>
                    <a:pt x="3043" y="1672"/>
                  </a:lnTo>
                  <a:lnTo>
                    <a:pt x="3076" y="1672"/>
                  </a:lnTo>
                  <a:lnTo>
                    <a:pt x="3107" y="1670"/>
                  </a:lnTo>
                  <a:lnTo>
                    <a:pt x="3139" y="1668"/>
                  </a:lnTo>
                  <a:lnTo>
                    <a:pt x="3155" y="1667"/>
                  </a:lnTo>
                  <a:lnTo>
                    <a:pt x="3170" y="1665"/>
                  </a:lnTo>
                  <a:lnTo>
                    <a:pt x="3186" y="1661"/>
                  </a:lnTo>
                  <a:lnTo>
                    <a:pt x="3201" y="1657"/>
                  </a:lnTo>
                  <a:lnTo>
                    <a:pt x="3222" y="1650"/>
                  </a:lnTo>
                  <a:lnTo>
                    <a:pt x="3239" y="1642"/>
                  </a:lnTo>
                  <a:lnTo>
                    <a:pt x="3253" y="1634"/>
                  </a:lnTo>
                  <a:lnTo>
                    <a:pt x="3263" y="1626"/>
                  </a:lnTo>
                  <a:lnTo>
                    <a:pt x="3272" y="1618"/>
                  </a:lnTo>
                  <a:lnTo>
                    <a:pt x="3279" y="1612"/>
                  </a:lnTo>
                  <a:lnTo>
                    <a:pt x="3285" y="1604"/>
                  </a:lnTo>
                  <a:lnTo>
                    <a:pt x="3291" y="1596"/>
                  </a:lnTo>
                  <a:lnTo>
                    <a:pt x="3297" y="1588"/>
                  </a:lnTo>
                  <a:lnTo>
                    <a:pt x="3305" y="1581"/>
                  </a:lnTo>
                  <a:lnTo>
                    <a:pt x="3314" y="1573"/>
                  </a:lnTo>
                  <a:lnTo>
                    <a:pt x="3325" y="1566"/>
                  </a:lnTo>
                  <a:lnTo>
                    <a:pt x="3340" y="1560"/>
                  </a:lnTo>
                  <a:lnTo>
                    <a:pt x="3358" y="1553"/>
                  </a:lnTo>
                  <a:lnTo>
                    <a:pt x="3381" y="1547"/>
                  </a:lnTo>
                  <a:lnTo>
                    <a:pt x="3408" y="1542"/>
                  </a:lnTo>
                  <a:lnTo>
                    <a:pt x="3417" y="1565"/>
                  </a:lnTo>
                  <a:lnTo>
                    <a:pt x="3431" y="1595"/>
                  </a:lnTo>
                  <a:lnTo>
                    <a:pt x="3451" y="1630"/>
                  </a:lnTo>
                  <a:lnTo>
                    <a:pt x="3473" y="1670"/>
                  </a:lnTo>
                  <a:lnTo>
                    <a:pt x="3499" y="1713"/>
                  </a:lnTo>
                  <a:lnTo>
                    <a:pt x="3529" y="1760"/>
                  </a:lnTo>
                  <a:lnTo>
                    <a:pt x="3559" y="1807"/>
                  </a:lnTo>
                  <a:lnTo>
                    <a:pt x="3591" y="1856"/>
                  </a:lnTo>
                  <a:lnTo>
                    <a:pt x="3622" y="1903"/>
                  </a:lnTo>
                  <a:lnTo>
                    <a:pt x="3655" y="1951"/>
                  </a:lnTo>
                  <a:lnTo>
                    <a:pt x="3686" y="1995"/>
                  </a:lnTo>
                  <a:lnTo>
                    <a:pt x="3716" y="2035"/>
                  </a:lnTo>
                  <a:lnTo>
                    <a:pt x="3744" y="2071"/>
                  </a:lnTo>
                  <a:lnTo>
                    <a:pt x="3769" y="2103"/>
                  </a:lnTo>
                  <a:lnTo>
                    <a:pt x="3791" y="2128"/>
                  </a:lnTo>
                  <a:lnTo>
                    <a:pt x="3809" y="2145"/>
                  </a:lnTo>
                  <a:lnTo>
                    <a:pt x="3798" y="2173"/>
                  </a:lnTo>
                  <a:lnTo>
                    <a:pt x="3784" y="2205"/>
                  </a:lnTo>
                  <a:lnTo>
                    <a:pt x="3767" y="2239"/>
                  </a:lnTo>
                  <a:lnTo>
                    <a:pt x="3748" y="2276"/>
                  </a:lnTo>
                  <a:lnTo>
                    <a:pt x="3725" y="2315"/>
                  </a:lnTo>
                  <a:lnTo>
                    <a:pt x="3701" y="2357"/>
                  </a:lnTo>
                  <a:lnTo>
                    <a:pt x="3677" y="2401"/>
                  </a:lnTo>
                  <a:lnTo>
                    <a:pt x="3648" y="2446"/>
                  </a:lnTo>
                  <a:lnTo>
                    <a:pt x="3590" y="2544"/>
                  </a:lnTo>
                  <a:lnTo>
                    <a:pt x="3524" y="2644"/>
                  </a:lnTo>
                  <a:lnTo>
                    <a:pt x="3455" y="2748"/>
                  </a:lnTo>
                  <a:lnTo>
                    <a:pt x="3385" y="2854"/>
                  </a:lnTo>
                  <a:lnTo>
                    <a:pt x="3313" y="2959"/>
                  </a:lnTo>
                  <a:lnTo>
                    <a:pt x="3240" y="3062"/>
                  </a:lnTo>
                  <a:lnTo>
                    <a:pt x="3170" y="3162"/>
                  </a:lnTo>
                  <a:lnTo>
                    <a:pt x="3103" y="3256"/>
                  </a:lnTo>
                  <a:lnTo>
                    <a:pt x="3039" y="3343"/>
                  </a:lnTo>
                  <a:lnTo>
                    <a:pt x="2982" y="3421"/>
                  </a:lnTo>
                  <a:lnTo>
                    <a:pt x="2931" y="3489"/>
                  </a:lnTo>
                  <a:lnTo>
                    <a:pt x="2889" y="3545"/>
                  </a:lnTo>
                  <a:lnTo>
                    <a:pt x="2865" y="3575"/>
                  </a:lnTo>
                  <a:lnTo>
                    <a:pt x="2841" y="3603"/>
                  </a:lnTo>
                  <a:lnTo>
                    <a:pt x="2817" y="3630"/>
                  </a:lnTo>
                  <a:lnTo>
                    <a:pt x="2793" y="3656"/>
                  </a:lnTo>
                  <a:lnTo>
                    <a:pt x="2769" y="3681"/>
                  </a:lnTo>
                  <a:lnTo>
                    <a:pt x="2746" y="3705"/>
                  </a:lnTo>
                  <a:lnTo>
                    <a:pt x="2722" y="3729"/>
                  </a:lnTo>
                  <a:lnTo>
                    <a:pt x="2698" y="3751"/>
                  </a:lnTo>
                  <a:lnTo>
                    <a:pt x="2650" y="3795"/>
                  </a:lnTo>
                  <a:lnTo>
                    <a:pt x="2600" y="3841"/>
                  </a:lnTo>
                  <a:lnTo>
                    <a:pt x="2549" y="3887"/>
                  </a:lnTo>
                  <a:lnTo>
                    <a:pt x="2496" y="3935"/>
                  </a:lnTo>
                  <a:lnTo>
                    <a:pt x="2547" y="3933"/>
                  </a:lnTo>
                  <a:lnTo>
                    <a:pt x="2598" y="3922"/>
                  </a:lnTo>
                  <a:lnTo>
                    <a:pt x="2651" y="3903"/>
                  </a:lnTo>
                  <a:lnTo>
                    <a:pt x="2703" y="3877"/>
                  </a:lnTo>
                  <a:lnTo>
                    <a:pt x="2757" y="3845"/>
                  </a:lnTo>
                  <a:lnTo>
                    <a:pt x="2810" y="3807"/>
                  </a:lnTo>
                  <a:lnTo>
                    <a:pt x="2864" y="3763"/>
                  </a:lnTo>
                  <a:lnTo>
                    <a:pt x="2920" y="3713"/>
                  </a:lnTo>
                  <a:lnTo>
                    <a:pt x="2974" y="3660"/>
                  </a:lnTo>
                  <a:lnTo>
                    <a:pt x="3028" y="3602"/>
                  </a:lnTo>
                  <a:lnTo>
                    <a:pt x="3082" y="3541"/>
                  </a:lnTo>
                  <a:lnTo>
                    <a:pt x="3137" y="3477"/>
                  </a:lnTo>
                  <a:lnTo>
                    <a:pt x="3190" y="3410"/>
                  </a:lnTo>
                  <a:lnTo>
                    <a:pt x="3243" y="3341"/>
                  </a:lnTo>
                  <a:lnTo>
                    <a:pt x="3295" y="3271"/>
                  </a:lnTo>
                  <a:lnTo>
                    <a:pt x="3346" y="3200"/>
                  </a:lnTo>
                  <a:lnTo>
                    <a:pt x="3396" y="3128"/>
                  </a:lnTo>
                  <a:lnTo>
                    <a:pt x="3445" y="3055"/>
                  </a:lnTo>
                  <a:lnTo>
                    <a:pt x="3494" y="2984"/>
                  </a:lnTo>
                  <a:lnTo>
                    <a:pt x="3541" y="2914"/>
                  </a:lnTo>
                  <a:lnTo>
                    <a:pt x="3629" y="2779"/>
                  </a:lnTo>
                  <a:lnTo>
                    <a:pt x="3712" y="2652"/>
                  </a:lnTo>
                  <a:lnTo>
                    <a:pt x="3750" y="2594"/>
                  </a:lnTo>
                  <a:lnTo>
                    <a:pt x="3786" y="2540"/>
                  </a:lnTo>
                  <a:lnTo>
                    <a:pt x="3821" y="2491"/>
                  </a:lnTo>
                  <a:lnTo>
                    <a:pt x="3853" y="2446"/>
                  </a:lnTo>
                  <a:lnTo>
                    <a:pt x="3882" y="2408"/>
                  </a:lnTo>
                  <a:lnTo>
                    <a:pt x="3908" y="2374"/>
                  </a:lnTo>
                  <a:lnTo>
                    <a:pt x="3933" y="2348"/>
                  </a:lnTo>
                  <a:lnTo>
                    <a:pt x="3953" y="2329"/>
                  </a:lnTo>
                  <a:lnTo>
                    <a:pt x="3994" y="2371"/>
                  </a:lnTo>
                  <a:lnTo>
                    <a:pt x="4033" y="2409"/>
                  </a:lnTo>
                  <a:lnTo>
                    <a:pt x="4069" y="2444"/>
                  </a:lnTo>
                  <a:lnTo>
                    <a:pt x="4104" y="2476"/>
                  </a:lnTo>
                  <a:lnTo>
                    <a:pt x="4138" y="2503"/>
                  </a:lnTo>
                  <a:lnTo>
                    <a:pt x="4169" y="2529"/>
                  </a:lnTo>
                  <a:lnTo>
                    <a:pt x="4200" y="2550"/>
                  </a:lnTo>
                  <a:lnTo>
                    <a:pt x="4228" y="2569"/>
                  </a:lnTo>
                  <a:lnTo>
                    <a:pt x="4256" y="2585"/>
                  </a:lnTo>
                  <a:lnTo>
                    <a:pt x="4283" y="2598"/>
                  </a:lnTo>
                  <a:lnTo>
                    <a:pt x="4308" y="2609"/>
                  </a:lnTo>
                  <a:lnTo>
                    <a:pt x="4333" y="2617"/>
                  </a:lnTo>
                  <a:lnTo>
                    <a:pt x="4358" y="2623"/>
                  </a:lnTo>
                  <a:lnTo>
                    <a:pt x="4381" y="2626"/>
                  </a:lnTo>
                  <a:lnTo>
                    <a:pt x="4403" y="2627"/>
                  </a:lnTo>
                  <a:lnTo>
                    <a:pt x="4425" y="2626"/>
                  </a:lnTo>
                  <a:lnTo>
                    <a:pt x="4446" y="2624"/>
                  </a:lnTo>
                  <a:lnTo>
                    <a:pt x="4468" y="2618"/>
                  </a:lnTo>
                  <a:lnTo>
                    <a:pt x="4488" y="2613"/>
                  </a:lnTo>
                  <a:lnTo>
                    <a:pt x="4508" y="2605"/>
                  </a:lnTo>
                  <a:lnTo>
                    <a:pt x="4529" y="2594"/>
                  </a:lnTo>
                  <a:lnTo>
                    <a:pt x="4549" y="2584"/>
                  </a:lnTo>
                  <a:lnTo>
                    <a:pt x="4569" y="2572"/>
                  </a:lnTo>
                  <a:lnTo>
                    <a:pt x="4591" y="2558"/>
                  </a:lnTo>
                  <a:lnTo>
                    <a:pt x="4632" y="2529"/>
                  </a:lnTo>
                  <a:lnTo>
                    <a:pt x="4675" y="2495"/>
                  </a:lnTo>
                  <a:lnTo>
                    <a:pt x="4722" y="2460"/>
                  </a:lnTo>
                  <a:lnTo>
                    <a:pt x="4771" y="2423"/>
                  </a:lnTo>
                  <a:lnTo>
                    <a:pt x="4821" y="2385"/>
                  </a:lnTo>
                  <a:lnTo>
                    <a:pt x="4869" y="2347"/>
                  </a:lnTo>
                  <a:lnTo>
                    <a:pt x="4915" y="2308"/>
                  </a:lnTo>
                  <a:lnTo>
                    <a:pt x="4959" y="2267"/>
                  </a:lnTo>
                  <a:lnTo>
                    <a:pt x="5001" y="2226"/>
                  </a:lnTo>
                  <a:lnTo>
                    <a:pt x="5043" y="2186"/>
                  </a:lnTo>
                  <a:lnTo>
                    <a:pt x="5082" y="2144"/>
                  </a:lnTo>
                  <a:lnTo>
                    <a:pt x="5122" y="2102"/>
                  </a:lnTo>
                  <a:lnTo>
                    <a:pt x="5199" y="2017"/>
                  </a:lnTo>
                  <a:lnTo>
                    <a:pt x="5275" y="1932"/>
                  </a:lnTo>
                  <a:lnTo>
                    <a:pt x="5314" y="1890"/>
                  </a:lnTo>
                  <a:lnTo>
                    <a:pt x="5353" y="1848"/>
                  </a:lnTo>
                  <a:lnTo>
                    <a:pt x="5394" y="1806"/>
                  </a:lnTo>
                  <a:lnTo>
                    <a:pt x="5435" y="1764"/>
                  </a:lnTo>
                  <a:lnTo>
                    <a:pt x="5473" y="1727"/>
                  </a:lnTo>
                  <a:lnTo>
                    <a:pt x="5509" y="1694"/>
                  </a:lnTo>
                  <a:lnTo>
                    <a:pt x="5543" y="1666"/>
                  </a:lnTo>
                  <a:lnTo>
                    <a:pt x="5575" y="1642"/>
                  </a:lnTo>
                  <a:lnTo>
                    <a:pt x="5605" y="1622"/>
                  </a:lnTo>
                  <a:lnTo>
                    <a:pt x="5632" y="1606"/>
                  </a:lnTo>
                  <a:lnTo>
                    <a:pt x="5658" y="1594"/>
                  </a:lnTo>
                  <a:lnTo>
                    <a:pt x="5682" y="1586"/>
                  </a:lnTo>
                  <a:lnTo>
                    <a:pt x="5705" y="1580"/>
                  </a:lnTo>
                  <a:lnTo>
                    <a:pt x="5726" y="1578"/>
                  </a:lnTo>
                  <a:lnTo>
                    <a:pt x="5747" y="1579"/>
                  </a:lnTo>
                  <a:lnTo>
                    <a:pt x="5766" y="1582"/>
                  </a:lnTo>
                  <a:lnTo>
                    <a:pt x="5784" y="1588"/>
                  </a:lnTo>
                  <a:lnTo>
                    <a:pt x="5802" y="1597"/>
                  </a:lnTo>
                  <a:lnTo>
                    <a:pt x="5819" y="1608"/>
                  </a:lnTo>
                  <a:lnTo>
                    <a:pt x="5835" y="1622"/>
                  </a:lnTo>
                  <a:lnTo>
                    <a:pt x="5850" y="1638"/>
                  </a:lnTo>
                  <a:lnTo>
                    <a:pt x="5866" y="1655"/>
                  </a:lnTo>
                  <a:lnTo>
                    <a:pt x="5882" y="1673"/>
                  </a:lnTo>
                  <a:lnTo>
                    <a:pt x="5898" y="1693"/>
                  </a:lnTo>
                  <a:lnTo>
                    <a:pt x="5931" y="1737"/>
                  </a:lnTo>
                  <a:lnTo>
                    <a:pt x="5966" y="1786"/>
                  </a:lnTo>
                  <a:lnTo>
                    <a:pt x="5985" y="1810"/>
                  </a:lnTo>
                  <a:lnTo>
                    <a:pt x="6004" y="1836"/>
                  </a:lnTo>
                  <a:lnTo>
                    <a:pt x="6026" y="1861"/>
                  </a:lnTo>
                  <a:lnTo>
                    <a:pt x="6047" y="1887"/>
                  </a:lnTo>
                  <a:lnTo>
                    <a:pt x="6071" y="1913"/>
                  </a:lnTo>
                  <a:lnTo>
                    <a:pt x="6096" y="1938"/>
                  </a:lnTo>
                  <a:lnTo>
                    <a:pt x="6123" y="1963"/>
                  </a:lnTo>
                  <a:lnTo>
                    <a:pt x="6151" y="1988"/>
                  </a:lnTo>
                  <a:lnTo>
                    <a:pt x="6180" y="2013"/>
                  </a:lnTo>
                  <a:lnTo>
                    <a:pt x="6206" y="2035"/>
                  </a:lnTo>
                  <a:lnTo>
                    <a:pt x="6228" y="2056"/>
                  </a:lnTo>
                  <a:lnTo>
                    <a:pt x="6246" y="2076"/>
                  </a:lnTo>
                  <a:lnTo>
                    <a:pt x="6262" y="2094"/>
                  </a:lnTo>
                  <a:lnTo>
                    <a:pt x="6275" y="2111"/>
                  </a:lnTo>
                  <a:lnTo>
                    <a:pt x="6285" y="2128"/>
                  </a:lnTo>
                  <a:lnTo>
                    <a:pt x="6296" y="2143"/>
                  </a:lnTo>
                  <a:lnTo>
                    <a:pt x="6309" y="2171"/>
                  </a:lnTo>
                  <a:lnTo>
                    <a:pt x="6321" y="2198"/>
                  </a:lnTo>
                  <a:lnTo>
                    <a:pt x="6332" y="2224"/>
                  </a:lnTo>
                  <a:lnTo>
                    <a:pt x="6345" y="2250"/>
                  </a:lnTo>
                  <a:lnTo>
                    <a:pt x="6354" y="2263"/>
                  </a:lnTo>
                  <a:lnTo>
                    <a:pt x="6365" y="2278"/>
                  </a:lnTo>
                  <a:lnTo>
                    <a:pt x="6377" y="2293"/>
                  </a:lnTo>
                  <a:lnTo>
                    <a:pt x="6393" y="2308"/>
                  </a:lnTo>
                  <a:lnTo>
                    <a:pt x="6410" y="2324"/>
                  </a:lnTo>
                  <a:lnTo>
                    <a:pt x="6431" y="2341"/>
                  </a:lnTo>
                  <a:lnTo>
                    <a:pt x="6455" y="2361"/>
                  </a:lnTo>
                  <a:lnTo>
                    <a:pt x="6483" y="2380"/>
                  </a:lnTo>
                  <a:lnTo>
                    <a:pt x="6516" y="2401"/>
                  </a:lnTo>
                  <a:lnTo>
                    <a:pt x="6552" y="2425"/>
                  </a:lnTo>
                  <a:lnTo>
                    <a:pt x="6594" y="2450"/>
                  </a:lnTo>
                  <a:lnTo>
                    <a:pt x="6641" y="2476"/>
                  </a:lnTo>
                  <a:lnTo>
                    <a:pt x="6695" y="2504"/>
                  </a:lnTo>
                  <a:lnTo>
                    <a:pt x="6752" y="2536"/>
                  </a:lnTo>
                  <a:lnTo>
                    <a:pt x="6818" y="2569"/>
                  </a:lnTo>
                  <a:lnTo>
                    <a:pt x="6889" y="2604"/>
                  </a:lnTo>
                  <a:lnTo>
                    <a:pt x="6888" y="2608"/>
                  </a:lnTo>
                  <a:lnTo>
                    <a:pt x="6887" y="2614"/>
                  </a:lnTo>
                  <a:lnTo>
                    <a:pt x="6882" y="2620"/>
                  </a:lnTo>
                  <a:lnTo>
                    <a:pt x="6878" y="2628"/>
                  </a:lnTo>
                  <a:lnTo>
                    <a:pt x="6865" y="2646"/>
                  </a:lnTo>
                  <a:lnTo>
                    <a:pt x="6850" y="2666"/>
                  </a:lnTo>
                  <a:lnTo>
                    <a:pt x="6821" y="2702"/>
                  </a:lnTo>
                  <a:lnTo>
                    <a:pt x="6805" y="2720"/>
                  </a:lnTo>
                  <a:lnTo>
                    <a:pt x="6782" y="2756"/>
                  </a:lnTo>
                  <a:lnTo>
                    <a:pt x="6766" y="2781"/>
                  </a:lnTo>
                  <a:lnTo>
                    <a:pt x="6760" y="2792"/>
                  </a:lnTo>
                  <a:lnTo>
                    <a:pt x="6753" y="2807"/>
                  </a:lnTo>
                  <a:lnTo>
                    <a:pt x="6746" y="2825"/>
                  </a:lnTo>
                  <a:lnTo>
                    <a:pt x="6739" y="2848"/>
                  </a:lnTo>
                  <a:lnTo>
                    <a:pt x="6716" y="2844"/>
                  </a:lnTo>
                  <a:lnTo>
                    <a:pt x="6695" y="2840"/>
                  </a:lnTo>
                  <a:lnTo>
                    <a:pt x="6672" y="2833"/>
                  </a:lnTo>
                  <a:lnTo>
                    <a:pt x="6649" y="2827"/>
                  </a:lnTo>
                  <a:lnTo>
                    <a:pt x="6627" y="2819"/>
                  </a:lnTo>
                  <a:lnTo>
                    <a:pt x="6604" y="2811"/>
                  </a:lnTo>
                  <a:lnTo>
                    <a:pt x="6582" y="2803"/>
                  </a:lnTo>
                  <a:lnTo>
                    <a:pt x="6558" y="2793"/>
                  </a:lnTo>
                  <a:lnTo>
                    <a:pt x="6513" y="2774"/>
                  </a:lnTo>
                  <a:lnTo>
                    <a:pt x="6466" y="2752"/>
                  </a:lnTo>
                  <a:lnTo>
                    <a:pt x="6421" y="2728"/>
                  </a:lnTo>
                  <a:lnTo>
                    <a:pt x="6377" y="2703"/>
                  </a:lnTo>
                  <a:lnTo>
                    <a:pt x="6334" y="2676"/>
                  </a:lnTo>
                  <a:lnTo>
                    <a:pt x="6292" y="2650"/>
                  </a:lnTo>
                  <a:lnTo>
                    <a:pt x="6253" y="2623"/>
                  </a:lnTo>
                  <a:lnTo>
                    <a:pt x="6214" y="2596"/>
                  </a:lnTo>
                  <a:lnTo>
                    <a:pt x="6179" y="2569"/>
                  </a:lnTo>
                  <a:lnTo>
                    <a:pt x="6145" y="2543"/>
                  </a:lnTo>
                  <a:lnTo>
                    <a:pt x="6115" y="2518"/>
                  </a:lnTo>
                  <a:lnTo>
                    <a:pt x="6088" y="2494"/>
                  </a:lnTo>
                  <a:lnTo>
                    <a:pt x="6057" y="2466"/>
                  </a:lnTo>
                  <a:lnTo>
                    <a:pt x="6027" y="2437"/>
                  </a:lnTo>
                  <a:lnTo>
                    <a:pt x="5995" y="2408"/>
                  </a:lnTo>
                  <a:lnTo>
                    <a:pt x="5965" y="2378"/>
                  </a:lnTo>
                  <a:lnTo>
                    <a:pt x="5934" y="2346"/>
                  </a:lnTo>
                  <a:lnTo>
                    <a:pt x="5904" y="2313"/>
                  </a:lnTo>
                  <a:lnTo>
                    <a:pt x="5874" y="2279"/>
                  </a:lnTo>
                  <a:lnTo>
                    <a:pt x="5844" y="2242"/>
                  </a:lnTo>
                  <a:lnTo>
                    <a:pt x="5811" y="2200"/>
                  </a:lnTo>
                  <a:lnTo>
                    <a:pt x="5783" y="2160"/>
                  </a:lnTo>
                  <a:lnTo>
                    <a:pt x="5757" y="2121"/>
                  </a:lnTo>
                  <a:lnTo>
                    <a:pt x="5730" y="2086"/>
                  </a:lnTo>
                  <a:lnTo>
                    <a:pt x="5715" y="2070"/>
                  </a:lnTo>
                  <a:lnTo>
                    <a:pt x="5700" y="2054"/>
                  </a:lnTo>
                  <a:lnTo>
                    <a:pt x="5684" y="2040"/>
                  </a:lnTo>
                  <a:lnTo>
                    <a:pt x="5666" y="2025"/>
                  </a:lnTo>
                  <a:lnTo>
                    <a:pt x="5647" y="2012"/>
                  </a:lnTo>
                  <a:lnTo>
                    <a:pt x="5626" y="1998"/>
                  </a:lnTo>
                  <a:lnTo>
                    <a:pt x="5602" y="1987"/>
                  </a:lnTo>
                  <a:lnTo>
                    <a:pt x="5575" y="1974"/>
                  </a:lnTo>
                  <a:lnTo>
                    <a:pt x="5553" y="1984"/>
                  </a:lnTo>
                  <a:lnTo>
                    <a:pt x="5531" y="1995"/>
                  </a:lnTo>
                  <a:lnTo>
                    <a:pt x="5510" y="2006"/>
                  </a:lnTo>
                  <a:lnTo>
                    <a:pt x="5489" y="2018"/>
                  </a:lnTo>
                  <a:lnTo>
                    <a:pt x="5469" y="2032"/>
                  </a:lnTo>
                  <a:lnTo>
                    <a:pt x="5448" y="2047"/>
                  </a:lnTo>
                  <a:lnTo>
                    <a:pt x="5428" y="2062"/>
                  </a:lnTo>
                  <a:lnTo>
                    <a:pt x="5409" y="2078"/>
                  </a:lnTo>
                  <a:lnTo>
                    <a:pt x="5369" y="2112"/>
                  </a:lnTo>
                  <a:lnTo>
                    <a:pt x="5331" y="2149"/>
                  </a:lnTo>
                  <a:lnTo>
                    <a:pt x="5291" y="2188"/>
                  </a:lnTo>
                  <a:lnTo>
                    <a:pt x="5252" y="2227"/>
                  </a:lnTo>
                  <a:lnTo>
                    <a:pt x="5211" y="2267"/>
                  </a:lnTo>
                  <a:lnTo>
                    <a:pt x="5170" y="2308"/>
                  </a:lnTo>
                  <a:lnTo>
                    <a:pt x="5126" y="2348"/>
                  </a:lnTo>
                  <a:lnTo>
                    <a:pt x="5082" y="2387"/>
                  </a:lnTo>
                  <a:lnTo>
                    <a:pt x="5058" y="2406"/>
                  </a:lnTo>
                  <a:lnTo>
                    <a:pt x="5035" y="2425"/>
                  </a:lnTo>
                  <a:lnTo>
                    <a:pt x="5010" y="2443"/>
                  </a:lnTo>
                  <a:lnTo>
                    <a:pt x="4984" y="2461"/>
                  </a:lnTo>
                  <a:lnTo>
                    <a:pt x="4958" y="2478"/>
                  </a:lnTo>
                  <a:lnTo>
                    <a:pt x="4931" y="2494"/>
                  </a:lnTo>
                  <a:lnTo>
                    <a:pt x="4903" y="2510"/>
                  </a:lnTo>
                  <a:lnTo>
                    <a:pt x="4874" y="2524"/>
                  </a:lnTo>
                  <a:lnTo>
                    <a:pt x="4886" y="2537"/>
                  </a:lnTo>
                  <a:lnTo>
                    <a:pt x="4898" y="2548"/>
                  </a:lnTo>
                  <a:lnTo>
                    <a:pt x="4910" y="2558"/>
                  </a:lnTo>
                  <a:lnTo>
                    <a:pt x="4923" y="2566"/>
                  </a:lnTo>
                  <a:lnTo>
                    <a:pt x="4935" y="2574"/>
                  </a:lnTo>
                  <a:lnTo>
                    <a:pt x="4948" y="2580"/>
                  </a:lnTo>
                  <a:lnTo>
                    <a:pt x="4961" y="2585"/>
                  </a:lnTo>
                  <a:lnTo>
                    <a:pt x="4974" y="2589"/>
                  </a:lnTo>
                  <a:lnTo>
                    <a:pt x="4987" y="2592"/>
                  </a:lnTo>
                  <a:lnTo>
                    <a:pt x="5000" y="2594"/>
                  </a:lnTo>
                  <a:lnTo>
                    <a:pt x="5013" y="2596"/>
                  </a:lnTo>
                  <a:lnTo>
                    <a:pt x="5027" y="2596"/>
                  </a:lnTo>
                  <a:lnTo>
                    <a:pt x="5040" y="2596"/>
                  </a:lnTo>
                  <a:lnTo>
                    <a:pt x="5054" y="2594"/>
                  </a:lnTo>
                  <a:lnTo>
                    <a:pt x="5067" y="2592"/>
                  </a:lnTo>
                  <a:lnTo>
                    <a:pt x="5082" y="2590"/>
                  </a:lnTo>
                  <a:lnTo>
                    <a:pt x="5110" y="2583"/>
                  </a:lnTo>
                  <a:lnTo>
                    <a:pt x="5140" y="2574"/>
                  </a:lnTo>
                  <a:lnTo>
                    <a:pt x="5169" y="2564"/>
                  </a:lnTo>
                  <a:lnTo>
                    <a:pt x="5199" y="2553"/>
                  </a:lnTo>
                  <a:lnTo>
                    <a:pt x="5261" y="2529"/>
                  </a:lnTo>
                  <a:lnTo>
                    <a:pt x="5325" y="2505"/>
                  </a:lnTo>
                  <a:lnTo>
                    <a:pt x="5349" y="2498"/>
                  </a:lnTo>
                  <a:lnTo>
                    <a:pt x="5370" y="2492"/>
                  </a:lnTo>
                  <a:lnTo>
                    <a:pt x="5392" y="2488"/>
                  </a:lnTo>
                  <a:lnTo>
                    <a:pt x="5411" y="2485"/>
                  </a:lnTo>
                  <a:lnTo>
                    <a:pt x="5430" y="2483"/>
                  </a:lnTo>
                  <a:lnTo>
                    <a:pt x="5447" y="2483"/>
                  </a:lnTo>
                  <a:lnTo>
                    <a:pt x="5464" y="2483"/>
                  </a:lnTo>
                  <a:lnTo>
                    <a:pt x="5479" y="2485"/>
                  </a:lnTo>
                  <a:lnTo>
                    <a:pt x="5493" y="2487"/>
                  </a:lnTo>
                  <a:lnTo>
                    <a:pt x="5507" y="2492"/>
                  </a:lnTo>
                  <a:lnTo>
                    <a:pt x="5521" y="2496"/>
                  </a:lnTo>
                  <a:lnTo>
                    <a:pt x="5532" y="2502"/>
                  </a:lnTo>
                  <a:lnTo>
                    <a:pt x="5543" y="2509"/>
                  </a:lnTo>
                  <a:lnTo>
                    <a:pt x="5554" y="2515"/>
                  </a:lnTo>
                  <a:lnTo>
                    <a:pt x="5565" y="2523"/>
                  </a:lnTo>
                  <a:lnTo>
                    <a:pt x="5574" y="2532"/>
                  </a:lnTo>
                  <a:lnTo>
                    <a:pt x="5593" y="2550"/>
                  </a:lnTo>
                  <a:lnTo>
                    <a:pt x="5610" y="2572"/>
                  </a:lnTo>
                  <a:lnTo>
                    <a:pt x="5626" y="2593"/>
                  </a:lnTo>
                  <a:lnTo>
                    <a:pt x="5641" y="2616"/>
                  </a:lnTo>
                  <a:lnTo>
                    <a:pt x="5658" y="2639"/>
                  </a:lnTo>
                  <a:lnTo>
                    <a:pt x="5675" y="2661"/>
                  </a:lnTo>
                  <a:lnTo>
                    <a:pt x="5693" y="2683"/>
                  </a:lnTo>
                  <a:lnTo>
                    <a:pt x="5714" y="2704"/>
                  </a:lnTo>
                  <a:lnTo>
                    <a:pt x="5732" y="2720"/>
                  </a:lnTo>
                  <a:lnTo>
                    <a:pt x="5748" y="2732"/>
                  </a:lnTo>
                  <a:lnTo>
                    <a:pt x="5761" y="2741"/>
                  </a:lnTo>
                  <a:lnTo>
                    <a:pt x="5774" y="2747"/>
                  </a:lnTo>
                  <a:lnTo>
                    <a:pt x="5785" y="2752"/>
                  </a:lnTo>
                  <a:lnTo>
                    <a:pt x="5795" y="2753"/>
                  </a:lnTo>
                  <a:lnTo>
                    <a:pt x="5804" y="2753"/>
                  </a:lnTo>
                  <a:lnTo>
                    <a:pt x="5814" y="2752"/>
                  </a:lnTo>
                  <a:lnTo>
                    <a:pt x="5835" y="2747"/>
                  </a:lnTo>
                  <a:lnTo>
                    <a:pt x="5858" y="2740"/>
                  </a:lnTo>
                  <a:lnTo>
                    <a:pt x="5873" y="2738"/>
                  </a:lnTo>
                  <a:lnTo>
                    <a:pt x="5890" y="2737"/>
                  </a:lnTo>
                  <a:lnTo>
                    <a:pt x="5909" y="2737"/>
                  </a:lnTo>
                  <a:lnTo>
                    <a:pt x="5931" y="2738"/>
                  </a:lnTo>
                  <a:lnTo>
                    <a:pt x="5944" y="2740"/>
                  </a:lnTo>
                  <a:lnTo>
                    <a:pt x="5957" y="2744"/>
                  </a:lnTo>
                  <a:lnTo>
                    <a:pt x="5968" y="2747"/>
                  </a:lnTo>
                  <a:lnTo>
                    <a:pt x="5979" y="2752"/>
                  </a:lnTo>
                  <a:lnTo>
                    <a:pt x="5991" y="2757"/>
                  </a:lnTo>
                  <a:lnTo>
                    <a:pt x="6001" y="2763"/>
                  </a:lnTo>
                  <a:lnTo>
                    <a:pt x="6011" y="2770"/>
                  </a:lnTo>
                  <a:lnTo>
                    <a:pt x="6022" y="2776"/>
                  </a:lnTo>
                  <a:lnTo>
                    <a:pt x="6043" y="2791"/>
                  </a:lnTo>
                  <a:lnTo>
                    <a:pt x="6066" y="2809"/>
                  </a:lnTo>
                  <a:lnTo>
                    <a:pt x="6092" y="2827"/>
                  </a:lnTo>
                  <a:lnTo>
                    <a:pt x="6122" y="2846"/>
                  </a:lnTo>
                  <a:lnTo>
                    <a:pt x="6150" y="2862"/>
                  </a:lnTo>
                  <a:lnTo>
                    <a:pt x="6178" y="2877"/>
                  </a:lnTo>
                  <a:lnTo>
                    <a:pt x="6206" y="2890"/>
                  </a:lnTo>
                  <a:lnTo>
                    <a:pt x="6235" y="2903"/>
                  </a:lnTo>
                  <a:lnTo>
                    <a:pt x="6291" y="2925"/>
                  </a:lnTo>
                  <a:lnTo>
                    <a:pt x="6347" y="2946"/>
                  </a:lnTo>
                  <a:lnTo>
                    <a:pt x="6402" y="2966"/>
                  </a:lnTo>
                  <a:lnTo>
                    <a:pt x="6456" y="2986"/>
                  </a:lnTo>
                  <a:lnTo>
                    <a:pt x="6483" y="2998"/>
                  </a:lnTo>
                  <a:lnTo>
                    <a:pt x="6509" y="3009"/>
                  </a:lnTo>
                  <a:lnTo>
                    <a:pt x="6536" y="3022"/>
                  </a:lnTo>
                  <a:lnTo>
                    <a:pt x="6562" y="3034"/>
                  </a:lnTo>
                  <a:lnTo>
                    <a:pt x="5838" y="3972"/>
                  </a:lnTo>
                  <a:lnTo>
                    <a:pt x="5631" y="3935"/>
                  </a:lnTo>
                  <a:lnTo>
                    <a:pt x="5619" y="3952"/>
                  </a:lnTo>
                  <a:lnTo>
                    <a:pt x="5608" y="3970"/>
                  </a:lnTo>
                  <a:lnTo>
                    <a:pt x="5596" y="3989"/>
                  </a:lnTo>
                  <a:lnTo>
                    <a:pt x="5586" y="4007"/>
                  </a:lnTo>
                  <a:lnTo>
                    <a:pt x="5567" y="4044"/>
                  </a:lnTo>
                  <a:lnTo>
                    <a:pt x="5549" y="4082"/>
                  </a:lnTo>
                  <a:lnTo>
                    <a:pt x="5531" y="4121"/>
                  </a:lnTo>
                  <a:lnTo>
                    <a:pt x="5515" y="4159"/>
                  </a:lnTo>
                  <a:lnTo>
                    <a:pt x="5497" y="4196"/>
                  </a:lnTo>
                  <a:lnTo>
                    <a:pt x="5480" y="4234"/>
                  </a:lnTo>
                  <a:lnTo>
                    <a:pt x="5460" y="4273"/>
                  </a:lnTo>
                  <a:lnTo>
                    <a:pt x="5439" y="4312"/>
                  </a:lnTo>
                  <a:lnTo>
                    <a:pt x="5418" y="4349"/>
                  </a:lnTo>
                  <a:lnTo>
                    <a:pt x="5397" y="4386"/>
                  </a:lnTo>
                  <a:lnTo>
                    <a:pt x="5376" y="4421"/>
                  </a:lnTo>
                  <a:lnTo>
                    <a:pt x="5354" y="4457"/>
                  </a:lnTo>
                  <a:lnTo>
                    <a:pt x="5332" y="4494"/>
                  </a:lnTo>
                  <a:lnTo>
                    <a:pt x="5308" y="4531"/>
                  </a:lnTo>
                  <a:lnTo>
                    <a:pt x="5254" y="4616"/>
                  </a:lnTo>
                  <a:lnTo>
                    <a:pt x="5208" y="4686"/>
                  </a:lnTo>
                  <a:lnTo>
                    <a:pt x="5169" y="4742"/>
                  </a:lnTo>
                  <a:lnTo>
                    <a:pt x="5138" y="4788"/>
                  </a:lnTo>
                  <a:lnTo>
                    <a:pt x="5112" y="4823"/>
                  </a:lnTo>
                  <a:lnTo>
                    <a:pt x="5090" y="4852"/>
                  </a:lnTo>
                  <a:lnTo>
                    <a:pt x="5072" y="4872"/>
                  </a:lnTo>
                  <a:lnTo>
                    <a:pt x="5058" y="4888"/>
                  </a:lnTo>
                  <a:lnTo>
                    <a:pt x="5046" y="4900"/>
                  </a:lnTo>
                  <a:lnTo>
                    <a:pt x="5035" y="4910"/>
                  </a:lnTo>
                  <a:lnTo>
                    <a:pt x="5023" y="4921"/>
                  </a:lnTo>
                  <a:lnTo>
                    <a:pt x="5012" y="4932"/>
                  </a:lnTo>
                  <a:lnTo>
                    <a:pt x="4999" y="4947"/>
                  </a:lnTo>
                  <a:lnTo>
                    <a:pt x="4983" y="4965"/>
                  </a:lnTo>
                  <a:lnTo>
                    <a:pt x="4964" y="4989"/>
                  </a:lnTo>
                  <a:lnTo>
                    <a:pt x="4940" y="5021"/>
                  </a:lnTo>
                  <a:lnTo>
                    <a:pt x="4924" y="5041"/>
                  </a:lnTo>
                  <a:lnTo>
                    <a:pt x="4919" y="5046"/>
                  </a:lnTo>
                  <a:lnTo>
                    <a:pt x="4916" y="5054"/>
                  </a:lnTo>
                  <a:lnTo>
                    <a:pt x="4900" y="5084"/>
                  </a:lnTo>
                  <a:lnTo>
                    <a:pt x="4933" y="5081"/>
                  </a:lnTo>
                  <a:lnTo>
                    <a:pt x="4966" y="5074"/>
                  </a:lnTo>
                  <a:lnTo>
                    <a:pt x="4997" y="5064"/>
                  </a:lnTo>
                  <a:lnTo>
                    <a:pt x="5029" y="5050"/>
                  </a:lnTo>
                  <a:lnTo>
                    <a:pt x="5062" y="5033"/>
                  </a:lnTo>
                  <a:lnTo>
                    <a:pt x="5092" y="5015"/>
                  </a:lnTo>
                  <a:lnTo>
                    <a:pt x="5124" y="4993"/>
                  </a:lnTo>
                  <a:lnTo>
                    <a:pt x="5154" y="4969"/>
                  </a:lnTo>
                  <a:lnTo>
                    <a:pt x="5184" y="4943"/>
                  </a:lnTo>
                  <a:lnTo>
                    <a:pt x="5214" y="4915"/>
                  </a:lnTo>
                  <a:lnTo>
                    <a:pt x="5243" y="4884"/>
                  </a:lnTo>
                  <a:lnTo>
                    <a:pt x="5271" y="4853"/>
                  </a:lnTo>
                  <a:lnTo>
                    <a:pt x="5299" y="4820"/>
                  </a:lnTo>
                  <a:lnTo>
                    <a:pt x="5326" y="4786"/>
                  </a:lnTo>
                  <a:lnTo>
                    <a:pt x="5352" y="4751"/>
                  </a:lnTo>
                  <a:lnTo>
                    <a:pt x="5378" y="4715"/>
                  </a:lnTo>
                  <a:lnTo>
                    <a:pt x="5403" y="4678"/>
                  </a:lnTo>
                  <a:lnTo>
                    <a:pt x="5427" y="4640"/>
                  </a:lnTo>
                  <a:lnTo>
                    <a:pt x="5449" y="4603"/>
                  </a:lnTo>
                  <a:lnTo>
                    <a:pt x="5472" y="4566"/>
                  </a:lnTo>
                  <a:lnTo>
                    <a:pt x="5493" y="4529"/>
                  </a:lnTo>
                  <a:lnTo>
                    <a:pt x="5513" y="4491"/>
                  </a:lnTo>
                  <a:lnTo>
                    <a:pt x="5532" y="4455"/>
                  </a:lnTo>
                  <a:lnTo>
                    <a:pt x="5550" y="4419"/>
                  </a:lnTo>
                  <a:lnTo>
                    <a:pt x="5567" y="4384"/>
                  </a:lnTo>
                  <a:lnTo>
                    <a:pt x="5582" y="4350"/>
                  </a:lnTo>
                  <a:lnTo>
                    <a:pt x="5596" y="4317"/>
                  </a:lnTo>
                  <a:lnTo>
                    <a:pt x="5609" y="4286"/>
                  </a:lnTo>
                  <a:lnTo>
                    <a:pt x="5620" y="4256"/>
                  </a:lnTo>
                  <a:lnTo>
                    <a:pt x="5631" y="4228"/>
                  </a:lnTo>
                  <a:lnTo>
                    <a:pt x="5639" y="4202"/>
                  </a:lnTo>
                  <a:lnTo>
                    <a:pt x="5647" y="4178"/>
                  </a:lnTo>
                  <a:lnTo>
                    <a:pt x="5861" y="4222"/>
                  </a:lnTo>
                  <a:lnTo>
                    <a:pt x="5884" y="4200"/>
                  </a:lnTo>
                  <a:lnTo>
                    <a:pt x="5907" y="4176"/>
                  </a:lnTo>
                  <a:lnTo>
                    <a:pt x="5931" y="4150"/>
                  </a:lnTo>
                  <a:lnTo>
                    <a:pt x="5953" y="4124"/>
                  </a:lnTo>
                  <a:lnTo>
                    <a:pt x="5999" y="4069"/>
                  </a:lnTo>
                  <a:lnTo>
                    <a:pt x="6045" y="4010"/>
                  </a:lnTo>
                  <a:lnTo>
                    <a:pt x="6090" y="3950"/>
                  </a:lnTo>
                  <a:lnTo>
                    <a:pt x="6136" y="3890"/>
                  </a:lnTo>
                  <a:lnTo>
                    <a:pt x="6159" y="3860"/>
                  </a:lnTo>
                  <a:lnTo>
                    <a:pt x="6183" y="3830"/>
                  </a:lnTo>
                  <a:lnTo>
                    <a:pt x="6208" y="3801"/>
                  </a:lnTo>
                  <a:lnTo>
                    <a:pt x="6231" y="3773"/>
                  </a:lnTo>
                  <a:lnTo>
                    <a:pt x="7000" y="2833"/>
                  </a:lnTo>
                  <a:lnTo>
                    <a:pt x="7023" y="2800"/>
                  </a:lnTo>
                  <a:lnTo>
                    <a:pt x="7045" y="2771"/>
                  </a:lnTo>
                  <a:lnTo>
                    <a:pt x="7063" y="2741"/>
                  </a:lnTo>
                  <a:lnTo>
                    <a:pt x="7082" y="2713"/>
                  </a:lnTo>
                  <a:lnTo>
                    <a:pt x="7100" y="2686"/>
                  </a:lnTo>
                  <a:lnTo>
                    <a:pt x="7122" y="2658"/>
                  </a:lnTo>
                  <a:lnTo>
                    <a:pt x="7134" y="2643"/>
                  </a:lnTo>
                  <a:lnTo>
                    <a:pt x="7146" y="2627"/>
                  </a:lnTo>
                  <a:lnTo>
                    <a:pt x="7160" y="2613"/>
                  </a:lnTo>
                  <a:lnTo>
                    <a:pt x="7176" y="2596"/>
                  </a:lnTo>
                  <a:lnTo>
                    <a:pt x="7201" y="2572"/>
                  </a:lnTo>
                  <a:lnTo>
                    <a:pt x="7222" y="2553"/>
                  </a:lnTo>
                  <a:lnTo>
                    <a:pt x="7242" y="2537"/>
                  </a:lnTo>
                  <a:lnTo>
                    <a:pt x="7259" y="2526"/>
                  </a:lnTo>
                  <a:lnTo>
                    <a:pt x="7268" y="2521"/>
                  </a:lnTo>
                  <a:lnTo>
                    <a:pt x="7276" y="2518"/>
                  </a:lnTo>
                  <a:lnTo>
                    <a:pt x="7284" y="2514"/>
                  </a:lnTo>
                  <a:lnTo>
                    <a:pt x="7292" y="2512"/>
                  </a:lnTo>
                  <a:lnTo>
                    <a:pt x="7308" y="2509"/>
                  </a:lnTo>
                  <a:lnTo>
                    <a:pt x="7325" y="2507"/>
                  </a:lnTo>
                  <a:lnTo>
                    <a:pt x="7360" y="2509"/>
                  </a:lnTo>
                  <a:lnTo>
                    <a:pt x="7404" y="2512"/>
                  </a:lnTo>
                  <a:lnTo>
                    <a:pt x="7430" y="2512"/>
                  </a:lnTo>
                  <a:lnTo>
                    <a:pt x="7459" y="2512"/>
                  </a:lnTo>
                  <a:lnTo>
                    <a:pt x="7493" y="2511"/>
                  </a:lnTo>
                  <a:lnTo>
                    <a:pt x="7532" y="2507"/>
                  </a:lnTo>
                  <a:lnTo>
                    <a:pt x="7541" y="2498"/>
                  </a:lnTo>
                  <a:lnTo>
                    <a:pt x="7555" y="2482"/>
                  </a:lnTo>
                  <a:lnTo>
                    <a:pt x="7572" y="2457"/>
                  </a:lnTo>
                  <a:lnTo>
                    <a:pt x="7594" y="2424"/>
                  </a:lnTo>
                  <a:lnTo>
                    <a:pt x="7648" y="2338"/>
                  </a:lnTo>
                  <a:lnTo>
                    <a:pt x="7714" y="2228"/>
                  </a:lnTo>
                  <a:lnTo>
                    <a:pt x="7788" y="2099"/>
                  </a:lnTo>
                  <a:lnTo>
                    <a:pt x="7872" y="1953"/>
                  </a:lnTo>
                  <a:lnTo>
                    <a:pt x="7962" y="1796"/>
                  </a:lnTo>
                  <a:lnTo>
                    <a:pt x="8055" y="1630"/>
                  </a:lnTo>
                  <a:lnTo>
                    <a:pt x="8151" y="1461"/>
                  </a:lnTo>
                  <a:lnTo>
                    <a:pt x="8247" y="1293"/>
                  </a:lnTo>
                  <a:lnTo>
                    <a:pt x="8341" y="1128"/>
                  </a:lnTo>
                  <a:lnTo>
                    <a:pt x="8430" y="973"/>
                  </a:lnTo>
                  <a:lnTo>
                    <a:pt x="8514" y="830"/>
                  </a:lnTo>
                  <a:lnTo>
                    <a:pt x="8589" y="703"/>
                  </a:lnTo>
                  <a:lnTo>
                    <a:pt x="8623" y="648"/>
                  </a:lnTo>
                  <a:lnTo>
                    <a:pt x="8655" y="598"/>
                  </a:lnTo>
                  <a:lnTo>
                    <a:pt x="8683" y="554"/>
                  </a:lnTo>
                  <a:lnTo>
                    <a:pt x="8708" y="518"/>
                  </a:lnTo>
                  <a:lnTo>
                    <a:pt x="8729" y="489"/>
                  </a:lnTo>
                  <a:lnTo>
                    <a:pt x="8740" y="472"/>
                  </a:lnTo>
                  <a:lnTo>
                    <a:pt x="8743" y="464"/>
                  </a:lnTo>
                  <a:lnTo>
                    <a:pt x="8744" y="453"/>
                  </a:lnTo>
                  <a:lnTo>
                    <a:pt x="8745" y="438"/>
                  </a:lnTo>
                  <a:lnTo>
                    <a:pt x="8746" y="416"/>
                  </a:lnTo>
                  <a:lnTo>
                    <a:pt x="8752" y="406"/>
                  </a:lnTo>
                  <a:lnTo>
                    <a:pt x="8757" y="397"/>
                  </a:lnTo>
                  <a:lnTo>
                    <a:pt x="8762" y="387"/>
                  </a:lnTo>
                  <a:lnTo>
                    <a:pt x="8767" y="378"/>
                  </a:lnTo>
                  <a:lnTo>
                    <a:pt x="8781" y="351"/>
                  </a:lnTo>
                  <a:lnTo>
                    <a:pt x="8795" y="325"/>
                  </a:lnTo>
                  <a:lnTo>
                    <a:pt x="8807" y="301"/>
                  </a:lnTo>
                  <a:lnTo>
                    <a:pt x="8820" y="280"/>
                  </a:lnTo>
                  <a:lnTo>
                    <a:pt x="8827" y="266"/>
                  </a:lnTo>
                  <a:lnTo>
                    <a:pt x="8831" y="254"/>
                  </a:lnTo>
                  <a:lnTo>
                    <a:pt x="8836" y="242"/>
                  </a:lnTo>
                  <a:lnTo>
                    <a:pt x="8839" y="231"/>
                  </a:lnTo>
                  <a:lnTo>
                    <a:pt x="8842" y="214"/>
                  </a:lnTo>
                  <a:lnTo>
                    <a:pt x="8844" y="201"/>
                  </a:lnTo>
                  <a:lnTo>
                    <a:pt x="8845" y="185"/>
                  </a:lnTo>
                  <a:lnTo>
                    <a:pt x="8846" y="183"/>
                  </a:lnTo>
                  <a:lnTo>
                    <a:pt x="8847" y="189"/>
                  </a:lnTo>
                  <a:lnTo>
                    <a:pt x="8849" y="202"/>
                  </a:lnTo>
                  <a:lnTo>
                    <a:pt x="8851" y="214"/>
                  </a:lnTo>
                  <a:lnTo>
                    <a:pt x="8855" y="227"/>
                  </a:lnTo>
                  <a:lnTo>
                    <a:pt x="8859" y="240"/>
                  </a:lnTo>
                  <a:lnTo>
                    <a:pt x="8865" y="253"/>
                  </a:lnTo>
                  <a:lnTo>
                    <a:pt x="8876" y="276"/>
                  </a:lnTo>
                  <a:lnTo>
                    <a:pt x="8889" y="300"/>
                  </a:lnTo>
                  <a:lnTo>
                    <a:pt x="8897" y="315"/>
                  </a:lnTo>
                  <a:lnTo>
                    <a:pt x="8902" y="327"/>
                  </a:lnTo>
                  <a:lnTo>
                    <a:pt x="8906" y="337"/>
                  </a:lnTo>
                  <a:lnTo>
                    <a:pt x="8908" y="346"/>
                  </a:lnTo>
                  <a:lnTo>
                    <a:pt x="8909" y="355"/>
                  </a:lnTo>
                  <a:lnTo>
                    <a:pt x="8909" y="362"/>
                  </a:lnTo>
                  <a:lnTo>
                    <a:pt x="8908" y="369"/>
                  </a:lnTo>
                  <a:lnTo>
                    <a:pt x="8907" y="375"/>
                  </a:lnTo>
                  <a:lnTo>
                    <a:pt x="8907" y="380"/>
                  </a:lnTo>
                  <a:lnTo>
                    <a:pt x="8906" y="385"/>
                  </a:lnTo>
                  <a:lnTo>
                    <a:pt x="8906" y="390"/>
                  </a:lnTo>
                  <a:lnTo>
                    <a:pt x="8907" y="396"/>
                  </a:lnTo>
                  <a:lnTo>
                    <a:pt x="8909" y="402"/>
                  </a:lnTo>
                  <a:lnTo>
                    <a:pt x="8914" y="409"/>
                  </a:lnTo>
                  <a:lnTo>
                    <a:pt x="8919" y="416"/>
                  </a:lnTo>
                  <a:lnTo>
                    <a:pt x="8928" y="4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prstClr val="black"/>
                </a:solidFill>
                <a:latin typeface="Calibri"/>
              </a:endParaRPr>
            </a:p>
          </p:txBody>
        </p:sp>
        <p:sp>
          <p:nvSpPr>
            <p:cNvPr id="11" name="Freeform 9"/>
            <p:cNvSpPr>
              <a:spLocks/>
            </p:cNvSpPr>
            <p:nvPr/>
          </p:nvSpPr>
          <p:spPr bwMode="auto">
            <a:xfrm>
              <a:off x="4908550" y="2876550"/>
              <a:ext cx="1281113" cy="1000125"/>
            </a:xfrm>
            <a:custGeom>
              <a:avLst/>
              <a:gdLst>
                <a:gd name="T0" fmla="*/ 72 w 2421"/>
                <a:gd name="T1" fmla="*/ 1878 h 1890"/>
                <a:gd name="T2" fmla="*/ 174 w 2421"/>
                <a:gd name="T3" fmla="*/ 1834 h 1890"/>
                <a:gd name="T4" fmla="*/ 280 w 2421"/>
                <a:gd name="T5" fmla="*/ 1765 h 1890"/>
                <a:gd name="T6" fmla="*/ 472 w 2421"/>
                <a:gd name="T7" fmla="*/ 1614 h 1890"/>
                <a:gd name="T8" fmla="*/ 612 w 2421"/>
                <a:gd name="T9" fmla="*/ 1508 h 1890"/>
                <a:gd name="T10" fmla="*/ 724 w 2421"/>
                <a:gd name="T11" fmla="*/ 1437 h 1890"/>
                <a:gd name="T12" fmla="*/ 836 w 2421"/>
                <a:gd name="T13" fmla="*/ 1390 h 1890"/>
                <a:gd name="T14" fmla="*/ 984 w 2421"/>
                <a:gd name="T15" fmla="*/ 1353 h 1890"/>
                <a:gd name="T16" fmla="*/ 1097 w 2421"/>
                <a:gd name="T17" fmla="*/ 1300 h 1890"/>
                <a:gd name="T18" fmla="*/ 1180 w 2421"/>
                <a:gd name="T19" fmla="*/ 1229 h 1890"/>
                <a:gd name="T20" fmla="*/ 1300 w 2421"/>
                <a:gd name="T21" fmla="*/ 1080 h 1890"/>
                <a:gd name="T22" fmla="*/ 1364 w 2421"/>
                <a:gd name="T23" fmla="*/ 994 h 1890"/>
                <a:gd name="T24" fmla="*/ 1429 w 2421"/>
                <a:gd name="T25" fmla="*/ 876 h 1890"/>
                <a:gd name="T26" fmla="*/ 1487 w 2421"/>
                <a:gd name="T27" fmla="*/ 780 h 1890"/>
                <a:gd name="T28" fmla="*/ 1532 w 2421"/>
                <a:gd name="T29" fmla="*/ 737 h 1890"/>
                <a:gd name="T30" fmla="*/ 1599 w 2421"/>
                <a:gd name="T31" fmla="*/ 723 h 1890"/>
                <a:gd name="T32" fmla="*/ 1687 w 2421"/>
                <a:gd name="T33" fmla="*/ 804 h 1890"/>
                <a:gd name="T34" fmla="*/ 1810 w 2421"/>
                <a:gd name="T35" fmla="*/ 951 h 1890"/>
                <a:gd name="T36" fmla="*/ 2001 w 2421"/>
                <a:gd name="T37" fmla="*/ 1187 h 1890"/>
                <a:gd name="T38" fmla="*/ 2114 w 2421"/>
                <a:gd name="T39" fmla="*/ 1304 h 1890"/>
                <a:gd name="T40" fmla="*/ 2228 w 2421"/>
                <a:gd name="T41" fmla="*/ 1390 h 1890"/>
                <a:gd name="T42" fmla="*/ 2340 w 2421"/>
                <a:gd name="T43" fmla="*/ 1426 h 1890"/>
                <a:gd name="T44" fmla="*/ 2410 w 2421"/>
                <a:gd name="T45" fmla="*/ 1393 h 1890"/>
                <a:gd name="T46" fmla="*/ 2353 w 2421"/>
                <a:gd name="T47" fmla="*/ 1329 h 1890"/>
                <a:gd name="T48" fmla="*/ 2261 w 2421"/>
                <a:gd name="T49" fmla="*/ 1259 h 1890"/>
                <a:gd name="T50" fmla="*/ 2167 w 2421"/>
                <a:gd name="T51" fmla="*/ 1186 h 1890"/>
                <a:gd name="T52" fmla="*/ 2127 w 2421"/>
                <a:gd name="T53" fmla="*/ 1142 h 1890"/>
                <a:gd name="T54" fmla="*/ 2089 w 2421"/>
                <a:gd name="T55" fmla="*/ 1067 h 1890"/>
                <a:gd name="T56" fmla="*/ 2050 w 2421"/>
                <a:gd name="T57" fmla="*/ 937 h 1890"/>
                <a:gd name="T58" fmla="*/ 2009 w 2421"/>
                <a:gd name="T59" fmla="*/ 798 h 1890"/>
                <a:gd name="T60" fmla="*/ 1958 w 2421"/>
                <a:gd name="T61" fmla="*/ 694 h 1890"/>
                <a:gd name="T62" fmla="*/ 1895 w 2421"/>
                <a:gd name="T63" fmla="*/ 615 h 1890"/>
                <a:gd name="T64" fmla="*/ 1803 w 2421"/>
                <a:gd name="T65" fmla="*/ 511 h 1890"/>
                <a:gd name="T66" fmla="*/ 1762 w 2421"/>
                <a:gd name="T67" fmla="*/ 436 h 1890"/>
                <a:gd name="T68" fmla="*/ 1749 w 2421"/>
                <a:gd name="T69" fmla="*/ 379 h 1890"/>
                <a:gd name="T70" fmla="*/ 1749 w 2421"/>
                <a:gd name="T71" fmla="*/ 309 h 1890"/>
                <a:gd name="T72" fmla="*/ 1780 w 2421"/>
                <a:gd name="T73" fmla="*/ 168 h 1890"/>
                <a:gd name="T74" fmla="*/ 1819 w 2421"/>
                <a:gd name="T75" fmla="*/ 28 h 1890"/>
                <a:gd name="T76" fmla="*/ 1719 w 2421"/>
                <a:gd name="T77" fmla="*/ 19 h 1890"/>
                <a:gd name="T78" fmla="*/ 1600 w 2421"/>
                <a:gd name="T79" fmla="*/ 87 h 1890"/>
                <a:gd name="T80" fmla="*/ 1496 w 2421"/>
                <a:gd name="T81" fmla="*/ 193 h 1890"/>
                <a:gd name="T82" fmla="*/ 1400 w 2421"/>
                <a:gd name="T83" fmla="*/ 327 h 1890"/>
                <a:gd name="T84" fmla="*/ 1256 w 2421"/>
                <a:gd name="T85" fmla="*/ 557 h 1890"/>
                <a:gd name="T86" fmla="*/ 1151 w 2421"/>
                <a:gd name="T87" fmla="*/ 711 h 1890"/>
                <a:gd name="T88" fmla="*/ 1029 w 2421"/>
                <a:gd name="T89" fmla="*/ 855 h 1890"/>
                <a:gd name="T90" fmla="*/ 895 w 2421"/>
                <a:gd name="T91" fmla="*/ 970 h 1890"/>
                <a:gd name="T92" fmla="*/ 785 w 2421"/>
                <a:gd name="T93" fmla="*/ 1042 h 1890"/>
                <a:gd name="T94" fmla="*/ 700 w 2421"/>
                <a:gd name="T95" fmla="*/ 1082 h 1890"/>
                <a:gd name="T96" fmla="*/ 665 w 2421"/>
                <a:gd name="T97" fmla="*/ 1102 h 1890"/>
                <a:gd name="T98" fmla="*/ 584 w 2421"/>
                <a:gd name="T99" fmla="*/ 1190 h 1890"/>
                <a:gd name="T100" fmla="*/ 359 w 2421"/>
                <a:gd name="T101" fmla="*/ 1480 h 1890"/>
                <a:gd name="T102" fmla="*/ 223 w 2421"/>
                <a:gd name="T103" fmla="*/ 1649 h 1890"/>
                <a:gd name="T104" fmla="*/ 39 w 2421"/>
                <a:gd name="T105" fmla="*/ 1821 h 1890"/>
                <a:gd name="T106" fmla="*/ 9 w 2421"/>
                <a:gd name="T107" fmla="*/ 1866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21" h="1890">
                  <a:moveTo>
                    <a:pt x="0" y="1890"/>
                  </a:moveTo>
                  <a:lnTo>
                    <a:pt x="23" y="1887"/>
                  </a:lnTo>
                  <a:lnTo>
                    <a:pt x="48" y="1884"/>
                  </a:lnTo>
                  <a:lnTo>
                    <a:pt x="72" y="1878"/>
                  </a:lnTo>
                  <a:lnTo>
                    <a:pt x="97" y="1869"/>
                  </a:lnTo>
                  <a:lnTo>
                    <a:pt x="123" y="1859"/>
                  </a:lnTo>
                  <a:lnTo>
                    <a:pt x="148" y="1848"/>
                  </a:lnTo>
                  <a:lnTo>
                    <a:pt x="174" y="1834"/>
                  </a:lnTo>
                  <a:lnTo>
                    <a:pt x="200" y="1818"/>
                  </a:lnTo>
                  <a:lnTo>
                    <a:pt x="226" y="1802"/>
                  </a:lnTo>
                  <a:lnTo>
                    <a:pt x="253" y="1783"/>
                  </a:lnTo>
                  <a:lnTo>
                    <a:pt x="280" y="1765"/>
                  </a:lnTo>
                  <a:lnTo>
                    <a:pt x="307" y="1745"/>
                  </a:lnTo>
                  <a:lnTo>
                    <a:pt x="361" y="1703"/>
                  </a:lnTo>
                  <a:lnTo>
                    <a:pt x="417" y="1659"/>
                  </a:lnTo>
                  <a:lnTo>
                    <a:pt x="472" y="1614"/>
                  </a:lnTo>
                  <a:lnTo>
                    <a:pt x="527" y="1570"/>
                  </a:lnTo>
                  <a:lnTo>
                    <a:pt x="556" y="1548"/>
                  </a:lnTo>
                  <a:lnTo>
                    <a:pt x="584" y="1528"/>
                  </a:lnTo>
                  <a:lnTo>
                    <a:pt x="612" y="1508"/>
                  </a:lnTo>
                  <a:lnTo>
                    <a:pt x="640" y="1489"/>
                  </a:lnTo>
                  <a:lnTo>
                    <a:pt x="669" y="1469"/>
                  </a:lnTo>
                  <a:lnTo>
                    <a:pt x="697" y="1452"/>
                  </a:lnTo>
                  <a:lnTo>
                    <a:pt x="724" y="1437"/>
                  </a:lnTo>
                  <a:lnTo>
                    <a:pt x="752" y="1423"/>
                  </a:lnTo>
                  <a:lnTo>
                    <a:pt x="781" y="1411"/>
                  </a:lnTo>
                  <a:lnTo>
                    <a:pt x="808" y="1399"/>
                  </a:lnTo>
                  <a:lnTo>
                    <a:pt x="836" y="1390"/>
                  </a:lnTo>
                  <a:lnTo>
                    <a:pt x="863" y="1384"/>
                  </a:lnTo>
                  <a:lnTo>
                    <a:pt x="907" y="1374"/>
                  </a:lnTo>
                  <a:lnTo>
                    <a:pt x="948" y="1364"/>
                  </a:lnTo>
                  <a:lnTo>
                    <a:pt x="984" y="1353"/>
                  </a:lnTo>
                  <a:lnTo>
                    <a:pt x="1017" y="1341"/>
                  </a:lnTo>
                  <a:lnTo>
                    <a:pt x="1046" y="1328"/>
                  </a:lnTo>
                  <a:lnTo>
                    <a:pt x="1073" y="1315"/>
                  </a:lnTo>
                  <a:lnTo>
                    <a:pt x="1097" y="1300"/>
                  </a:lnTo>
                  <a:lnTo>
                    <a:pt x="1121" y="1284"/>
                  </a:lnTo>
                  <a:lnTo>
                    <a:pt x="1141" y="1267"/>
                  </a:lnTo>
                  <a:lnTo>
                    <a:pt x="1161" y="1249"/>
                  </a:lnTo>
                  <a:lnTo>
                    <a:pt x="1180" y="1229"/>
                  </a:lnTo>
                  <a:lnTo>
                    <a:pt x="1199" y="1208"/>
                  </a:lnTo>
                  <a:lnTo>
                    <a:pt x="1237" y="1162"/>
                  </a:lnTo>
                  <a:lnTo>
                    <a:pt x="1278" y="1109"/>
                  </a:lnTo>
                  <a:lnTo>
                    <a:pt x="1300" y="1080"/>
                  </a:lnTo>
                  <a:lnTo>
                    <a:pt x="1318" y="1055"/>
                  </a:lnTo>
                  <a:lnTo>
                    <a:pt x="1335" y="1033"/>
                  </a:lnTo>
                  <a:lnTo>
                    <a:pt x="1349" y="1014"/>
                  </a:lnTo>
                  <a:lnTo>
                    <a:pt x="1364" y="994"/>
                  </a:lnTo>
                  <a:lnTo>
                    <a:pt x="1377" y="971"/>
                  </a:lnTo>
                  <a:lnTo>
                    <a:pt x="1393" y="944"/>
                  </a:lnTo>
                  <a:lnTo>
                    <a:pt x="1411" y="911"/>
                  </a:lnTo>
                  <a:lnTo>
                    <a:pt x="1429" y="876"/>
                  </a:lnTo>
                  <a:lnTo>
                    <a:pt x="1446" y="846"/>
                  </a:lnTo>
                  <a:lnTo>
                    <a:pt x="1462" y="818"/>
                  </a:lnTo>
                  <a:lnTo>
                    <a:pt x="1478" y="792"/>
                  </a:lnTo>
                  <a:lnTo>
                    <a:pt x="1487" y="780"/>
                  </a:lnTo>
                  <a:lnTo>
                    <a:pt x="1497" y="769"/>
                  </a:lnTo>
                  <a:lnTo>
                    <a:pt x="1507" y="758"/>
                  </a:lnTo>
                  <a:lnTo>
                    <a:pt x="1518" y="748"/>
                  </a:lnTo>
                  <a:lnTo>
                    <a:pt x="1532" y="737"/>
                  </a:lnTo>
                  <a:lnTo>
                    <a:pt x="1545" y="728"/>
                  </a:lnTo>
                  <a:lnTo>
                    <a:pt x="1561" y="719"/>
                  </a:lnTo>
                  <a:lnTo>
                    <a:pt x="1578" y="710"/>
                  </a:lnTo>
                  <a:lnTo>
                    <a:pt x="1599" y="723"/>
                  </a:lnTo>
                  <a:lnTo>
                    <a:pt x="1620" y="738"/>
                  </a:lnTo>
                  <a:lnTo>
                    <a:pt x="1641" y="758"/>
                  </a:lnTo>
                  <a:lnTo>
                    <a:pt x="1664" y="779"/>
                  </a:lnTo>
                  <a:lnTo>
                    <a:pt x="1687" y="804"/>
                  </a:lnTo>
                  <a:lnTo>
                    <a:pt x="1710" y="830"/>
                  </a:lnTo>
                  <a:lnTo>
                    <a:pt x="1734" y="858"/>
                  </a:lnTo>
                  <a:lnTo>
                    <a:pt x="1759" y="888"/>
                  </a:lnTo>
                  <a:lnTo>
                    <a:pt x="1810" y="951"/>
                  </a:lnTo>
                  <a:lnTo>
                    <a:pt x="1863" y="1019"/>
                  </a:lnTo>
                  <a:lnTo>
                    <a:pt x="1917" y="1086"/>
                  </a:lnTo>
                  <a:lnTo>
                    <a:pt x="1973" y="1154"/>
                  </a:lnTo>
                  <a:lnTo>
                    <a:pt x="2001" y="1187"/>
                  </a:lnTo>
                  <a:lnTo>
                    <a:pt x="2029" y="1219"/>
                  </a:lnTo>
                  <a:lnTo>
                    <a:pt x="2057" y="1249"/>
                  </a:lnTo>
                  <a:lnTo>
                    <a:pt x="2086" y="1277"/>
                  </a:lnTo>
                  <a:lnTo>
                    <a:pt x="2114" y="1304"/>
                  </a:lnTo>
                  <a:lnTo>
                    <a:pt x="2142" y="1329"/>
                  </a:lnTo>
                  <a:lnTo>
                    <a:pt x="2171" y="1353"/>
                  </a:lnTo>
                  <a:lnTo>
                    <a:pt x="2200" y="1373"/>
                  </a:lnTo>
                  <a:lnTo>
                    <a:pt x="2228" y="1390"/>
                  </a:lnTo>
                  <a:lnTo>
                    <a:pt x="2256" y="1405"/>
                  </a:lnTo>
                  <a:lnTo>
                    <a:pt x="2284" y="1415"/>
                  </a:lnTo>
                  <a:lnTo>
                    <a:pt x="2311" y="1423"/>
                  </a:lnTo>
                  <a:lnTo>
                    <a:pt x="2340" y="1426"/>
                  </a:lnTo>
                  <a:lnTo>
                    <a:pt x="2367" y="1425"/>
                  </a:lnTo>
                  <a:lnTo>
                    <a:pt x="2394" y="1420"/>
                  </a:lnTo>
                  <a:lnTo>
                    <a:pt x="2421" y="1411"/>
                  </a:lnTo>
                  <a:lnTo>
                    <a:pt x="2410" y="1393"/>
                  </a:lnTo>
                  <a:lnTo>
                    <a:pt x="2397" y="1376"/>
                  </a:lnTo>
                  <a:lnTo>
                    <a:pt x="2384" y="1360"/>
                  </a:lnTo>
                  <a:lnTo>
                    <a:pt x="2369" y="1344"/>
                  </a:lnTo>
                  <a:lnTo>
                    <a:pt x="2353" y="1329"/>
                  </a:lnTo>
                  <a:lnTo>
                    <a:pt x="2335" y="1315"/>
                  </a:lnTo>
                  <a:lnTo>
                    <a:pt x="2317" y="1301"/>
                  </a:lnTo>
                  <a:lnTo>
                    <a:pt x="2299" y="1288"/>
                  </a:lnTo>
                  <a:lnTo>
                    <a:pt x="2261" y="1259"/>
                  </a:lnTo>
                  <a:lnTo>
                    <a:pt x="2222" y="1231"/>
                  </a:lnTo>
                  <a:lnTo>
                    <a:pt x="2203" y="1216"/>
                  </a:lnTo>
                  <a:lnTo>
                    <a:pt x="2185" y="1202"/>
                  </a:lnTo>
                  <a:lnTo>
                    <a:pt x="2167" y="1186"/>
                  </a:lnTo>
                  <a:lnTo>
                    <a:pt x="2150" y="1169"/>
                  </a:lnTo>
                  <a:lnTo>
                    <a:pt x="2142" y="1161"/>
                  </a:lnTo>
                  <a:lnTo>
                    <a:pt x="2134" y="1152"/>
                  </a:lnTo>
                  <a:lnTo>
                    <a:pt x="2127" y="1142"/>
                  </a:lnTo>
                  <a:lnTo>
                    <a:pt x="2121" y="1133"/>
                  </a:lnTo>
                  <a:lnTo>
                    <a:pt x="2109" y="1111"/>
                  </a:lnTo>
                  <a:lnTo>
                    <a:pt x="2098" y="1090"/>
                  </a:lnTo>
                  <a:lnTo>
                    <a:pt x="2089" y="1067"/>
                  </a:lnTo>
                  <a:lnTo>
                    <a:pt x="2080" y="1042"/>
                  </a:lnTo>
                  <a:lnTo>
                    <a:pt x="2072" y="1018"/>
                  </a:lnTo>
                  <a:lnTo>
                    <a:pt x="2064" y="992"/>
                  </a:lnTo>
                  <a:lnTo>
                    <a:pt x="2050" y="937"/>
                  </a:lnTo>
                  <a:lnTo>
                    <a:pt x="2036" y="882"/>
                  </a:lnTo>
                  <a:lnTo>
                    <a:pt x="2028" y="855"/>
                  </a:lnTo>
                  <a:lnTo>
                    <a:pt x="2019" y="827"/>
                  </a:lnTo>
                  <a:lnTo>
                    <a:pt x="2009" y="798"/>
                  </a:lnTo>
                  <a:lnTo>
                    <a:pt x="1999" y="770"/>
                  </a:lnTo>
                  <a:lnTo>
                    <a:pt x="1986" y="743"/>
                  </a:lnTo>
                  <a:lnTo>
                    <a:pt x="1973" y="718"/>
                  </a:lnTo>
                  <a:lnTo>
                    <a:pt x="1958" y="694"/>
                  </a:lnTo>
                  <a:lnTo>
                    <a:pt x="1942" y="673"/>
                  </a:lnTo>
                  <a:lnTo>
                    <a:pt x="1927" y="653"/>
                  </a:lnTo>
                  <a:lnTo>
                    <a:pt x="1912" y="633"/>
                  </a:lnTo>
                  <a:lnTo>
                    <a:pt x="1895" y="615"/>
                  </a:lnTo>
                  <a:lnTo>
                    <a:pt x="1879" y="598"/>
                  </a:lnTo>
                  <a:lnTo>
                    <a:pt x="1847" y="565"/>
                  </a:lnTo>
                  <a:lnTo>
                    <a:pt x="1818" y="529"/>
                  </a:lnTo>
                  <a:lnTo>
                    <a:pt x="1803" y="511"/>
                  </a:lnTo>
                  <a:lnTo>
                    <a:pt x="1791" y="492"/>
                  </a:lnTo>
                  <a:lnTo>
                    <a:pt x="1779" y="471"/>
                  </a:lnTo>
                  <a:lnTo>
                    <a:pt x="1768" y="449"/>
                  </a:lnTo>
                  <a:lnTo>
                    <a:pt x="1762" y="436"/>
                  </a:lnTo>
                  <a:lnTo>
                    <a:pt x="1758" y="421"/>
                  </a:lnTo>
                  <a:lnTo>
                    <a:pt x="1754" y="407"/>
                  </a:lnTo>
                  <a:lnTo>
                    <a:pt x="1751" y="393"/>
                  </a:lnTo>
                  <a:lnTo>
                    <a:pt x="1749" y="379"/>
                  </a:lnTo>
                  <a:lnTo>
                    <a:pt x="1748" y="365"/>
                  </a:lnTo>
                  <a:lnTo>
                    <a:pt x="1748" y="351"/>
                  </a:lnTo>
                  <a:lnTo>
                    <a:pt x="1747" y="337"/>
                  </a:lnTo>
                  <a:lnTo>
                    <a:pt x="1749" y="309"/>
                  </a:lnTo>
                  <a:lnTo>
                    <a:pt x="1752" y="281"/>
                  </a:lnTo>
                  <a:lnTo>
                    <a:pt x="1758" y="253"/>
                  </a:lnTo>
                  <a:lnTo>
                    <a:pt x="1765" y="224"/>
                  </a:lnTo>
                  <a:lnTo>
                    <a:pt x="1780" y="168"/>
                  </a:lnTo>
                  <a:lnTo>
                    <a:pt x="1797" y="111"/>
                  </a:lnTo>
                  <a:lnTo>
                    <a:pt x="1805" y="83"/>
                  </a:lnTo>
                  <a:lnTo>
                    <a:pt x="1812" y="55"/>
                  </a:lnTo>
                  <a:lnTo>
                    <a:pt x="1819" y="28"/>
                  </a:lnTo>
                  <a:lnTo>
                    <a:pt x="1823" y="0"/>
                  </a:lnTo>
                  <a:lnTo>
                    <a:pt x="1787" y="3"/>
                  </a:lnTo>
                  <a:lnTo>
                    <a:pt x="1752" y="9"/>
                  </a:lnTo>
                  <a:lnTo>
                    <a:pt x="1719" y="19"/>
                  </a:lnTo>
                  <a:lnTo>
                    <a:pt x="1688" y="31"/>
                  </a:lnTo>
                  <a:lnTo>
                    <a:pt x="1657" y="47"/>
                  </a:lnTo>
                  <a:lnTo>
                    <a:pt x="1628" y="65"/>
                  </a:lnTo>
                  <a:lnTo>
                    <a:pt x="1600" y="87"/>
                  </a:lnTo>
                  <a:lnTo>
                    <a:pt x="1573" y="110"/>
                  </a:lnTo>
                  <a:lnTo>
                    <a:pt x="1547" y="136"/>
                  </a:lnTo>
                  <a:lnTo>
                    <a:pt x="1521" y="163"/>
                  </a:lnTo>
                  <a:lnTo>
                    <a:pt x="1496" y="193"/>
                  </a:lnTo>
                  <a:lnTo>
                    <a:pt x="1471" y="224"/>
                  </a:lnTo>
                  <a:lnTo>
                    <a:pt x="1447" y="258"/>
                  </a:lnTo>
                  <a:lnTo>
                    <a:pt x="1423" y="292"/>
                  </a:lnTo>
                  <a:lnTo>
                    <a:pt x="1400" y="327"/>
                  </a:lnTo>
                  <a:lnTo>
                    <a:pt x="1376" y="365"/>
                  </a:lnTo>
                  <a:lnTo>
                    <a:pt x="1329" y="440"/>
                  </a:lnTo>
                  <a:lnTo>
                    <a:pt x="1281" y="518"/>
                  </a:lnTo>
                  <a:lnTo>
                    <a:pt x="1256" y="557"/>
                  </a:lnTo>
                  <a:lnTo>
                    <a:pt x="1231" y="596"/>
                  </a:lnTo>
                  <a:lnTo>
                    <a:pt x="1205" y="635"/>
                  </a:lnTo>
                  <a:lnTo>
                    <a:pt x="1178" y="674"/>
                  </a:lnTo>
                  <a:lnTo>
                    <a:pt x="1151" y="711"/>
                  </a:lnTo>
                  <a:lnTo>
                    <a:pt x="1122" y="749"/>
                  </a:lnTo>
                  <a:lnTo>
                    <a:pt x="1092" y="786"/>
                  </a:lnTo>
                  <a:lnTo>
                    <a:pt x="1062" y="821"/>
                  </a:lnTo>
                  <a:lnTo>
                    <a:pt x="1029" y="855"/>
                  </a:lnTo>
                  <a:lnTo>
                    <a:pt x="996" y="888"/>
                  </a:lnTo>
                  <a:lnTo>
                    <a:pt x="960" y="919"/>
                  </a:lnTo>
                  <a:lnTo>
                    <a:pt x="924" y="949"/>
                  </a:lnTo>
                  <a:lnTo>
                    <a:pt x="895" y="970"/>
                  </a:lnTo>
                  <a:lnTo>
                    <a:pt x="868" y="989"/>
                  </a:lnTo>
                  <a:lnTo>
                    <a:pt x="844" y="1006"/>
                  </a:lnTo>
                  <a:lnTo>
                    <a:pt x="822" y="1020"/>
                  </a:lnTo>
                  <a:lnTo>
                    <a:pt x="785" y="1042"/>
                  </a:lnTo>
                  <a:lnTo>
                    <a:pt x="757" y="1058"/>
                  </a:lnTo>
                  <a:lnTo>
                    <a:pt x="734" y="1068"/>
                  </a:lnTo>
                  <a:lnTo>
                    <a:pt x="716" y="1075"/>
                  </a:lnTo>
                  <a:lnTo>
                    <a:pt x="700" y="1082"/>
                  </a:lnTo>
                  <a:lnTo>
                    <a:pt x="687" y="1088"/>
                  </a:lnTo>
                  <a:lnTo>
                    <a:pt x="680" y="1092"/>
                  </a:lnTo>
                  <a:lnTo>
                    <a:pt x="672" y="1097"/>
                  </a:lnTo>
                  <a:lnTo>
                    <a:pt x="665" y="1102"/>
                  </a:lnTo>
                  <a:lnTo>
                    <a:pt x="656" y="1109"/>
                  </a:lnTo>
                  <a:lnTo>
                    <a:pt x="638" y="1128"/>
                  </a:lnTo>
                  <a:lnTo>
                    <a:pt x="614" y="1154"/>
                  </a:lnTo>
                  <a:lnTo>
                    <a:pt x="584" y="1190"/>
                  </a:lnTo>
                  <a:lnTo>
                    <a:pt x="545" y="1238"/>
                  </a:lnTo>
                  <a:lnTo>
                    <a:pt x="498" y="1299"/>
                  </a:lnTo>
                  <a:lnTo>
                    <a:pt x="440" y="1374"/>
                  </a:lnTo>
                  <a:lnTo>
                    <a:pt x="359" y="1480"/>
                  </a:lnTo>
                  <a:lnTo>
                    <a:pt x="306" y="1550"/>
                  </a:lnTo>
                  <a:lnTo>
                    <a:pt x="272" y="1594"/>
                  </a:lnTo>
                  <a:lnTo>
                    <a:pt x="247" y="1624"/>
                  </a:lnTo>
                  <a:lnTo>
                    <a:pt x="223" y="1649"/>
                  </a:lnTo>
                  <a:lnTo>
                    <a:pt x="192" y="1680"/>
                  </a:lnTo>
                  <a:lnTo>
                    <a:pt x="142" y="1725"/>
                  </a:lnTo>
                  <a:lnTo>
                    <a:pt x="66" y="1797"/>
                  </a:lnTo>
                  <a:lnTo>
                    <a:pt x="39" y="1821"/>
                  </a:lnTo>
                  <a:lnTo>
                    <a:pt x="26" y="1833"/>
                  </a:lnTo>
                  <a:lnTo>
                    <a:pt x="20" y="1840"/>
                  </a:lnTo>
                  <a:lnTo>
                    <a:pt x="16" y="1850"/>
                  </a:lnTo>
                  <a:lnTo>
                    <a:pt x="9" y="1866"/>
                  </a:lnTo>
                  <a:lnTo>
                    <a:pt x="0" y="18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prstClr val="black"/>
                </a:solidFill>
                <a:latin typeface="Calibri"/>
              </a:endParaRPr>
            </a:p>
          </p:txBody>
        </p:sp>
        <p:sp>
          <p:nvSpPr>
            <p:cNvPr id="12" name="Freeform 10"/>
            <p:cNvSpPr>
              <a:spLocks/>
            </p:cNvSpPr>
            <p:nvPr/>
          </p:nvSpPr>
          <p:spPr bwMode="auto">
            <a:xfrm>
              <a:off x="6845300" y="3744913"/>
              <a:ext cx="1212850" cy="1023938"/>
            </a:xfrm>
            <a:custGeom>
              <a:avLst/>
              <a:gdLst>
                <a:gd name="T0" fmla="*/ 76 w 2291"/>
                <a:gd name="T1" fmla="*/ 267 h 1936"/>
                <a:gd name="T2" fmla="*/ 167 w 2291"/>
                <a:gd name="T3" fmla="*/ 449 h 1936"/>
                <a:gd name="T4" fmla="*/ 248 w 2291"/>
                <a:gd name="T5" fmla="*/ 557 h 1936"/>
                <a:gd name="T6" fmla="*/ 320 w 2291"/>
                <a:gd name="T7" fmla="*/ 619 h 1936"/>
                <a:gd name="T8" fmla="*/ 414 w 2291"/>
                <a:gd name="T9" fmla="*/ 680 h 1936"/>
                <a:gd name="T10" fmla="*/ 465 w 2291"/>
                <a:gd name="T11" fmla="*/ 738 h 1936"/>
                <a:gd name="T12" fmla="*/ 508 w 2291"/>
                <a:gd name="T13" fmla="*/ 838 h 1936"/>
                <a:gd name="T14" fmla="*/ 543 w 2291"/>
                <a:gd name="T15" fmla="*/ 1008 h 1936"/>
                <a:gd name="T16" fmla="*/ 591 w 2291"/>
                <a:gd name="T17" fmla="*/ 1270 h 1936"/>
                <a:gd name="T18" fmla="*/ 621 w 2291"/>
                <a:gd name="T19" fmla="*/ 1366 h 1936"/>
                <a:gd name="T20" fmla="*/ 659 w 2291"/>
                <a:gd name="T21" fmla="*/ 1447 h 1936"/>
                <a:gd name="T22" fmla="*/ 709 w 2291"/>
                <a:gd name="T23" fmla="*/ 1521 h 1936"/>
                <a:gd name="T24" fmla="*/ 776 w 2291"/>
                <a:gd name="T25" fmla="*/ 1593 h 1936"/>
                <a:gd name="T26" fmla="*/ 970 w 2291"/>
                <a:gd name="T27" fmla="*/ 1762 h 1936"/>
                <a:gd name="T28" fmla="*/ 1031 w 2291"/>
                <a:gd name="T29" fmla="*/ 1805 h 1936"/>
                <a:gd name="T30" fmla="*/ 1096 w 2291"/>
                <a:gd name="T31" fmla="*/ 1830 h 1936"/>
                <a:gd name="T32" fmla="*/ 1150 w 2291"/>
                <a:gd name="T33" fmla="*/ 1830 h 1936"/>
                <a:gd name="T34" fmla="*/ 1187 w 2291"/>
                <a:gd name="T35" fmla="*/ 1819 h 1936"/>
                <a:gd name="T36" fmla="*/ 1246 w 2291"/>
                <a:gd name="T37" fmla="*/ 1781 h 1936"/>
                <a:gd name="T38" fmla="*/ 1195 w 2291"/>
                <a:gd name="T39" fmla="*/ 1729 h 1936"/>
                <a:gd name="T40" fmla="*/ 1095 w 2291"/>
                <a:gd name="T41" fmla="*/ 1656 h 1936"/>
                <a:gd name="T42" fmla="*/ 981 w 2291"/>
                <a:gd name="T43" fmla="*/ 1569 h 1936"/>
                <a:gd name="T44" fmla="*/ 900 w 2291"/>
                <a:gd name="T45" fmla="*/ 1487 h 1936"/>
                <a:gd name="T46" fmla="*/ 852 w 2291"/>
                <a:gd name="T47" fmla="*/ 1420 h 1936"/>
                <a:gd name="T48" fmla="*/ 814 w 2291"/>
                <a:gd name="T49" fmla="*/ 1342 h 1936"/>
                <a:gd name="T50" fmla="*/ 782 w 2291"/>
                <a:gd name="T51" fmla="*/ 1230 h 1936"/>
                <a:gd name="T52" fmla="*/ 782 w 2291"/>
                <a:gd name="T53" fmla="*/ 1122 h 1936"/>
                <a:gd name="T54" fmla="*/ 817 w 2291"/>
                <a:gd name="T55" fmla="*/ 1048 h 1936"/>
                <a:gd name="T56" fmla="*/ 881 w 2291"/>
                <a:gd name="T57" fmla="*/ 1004 h 1936"/>
                <a:gd name="T58" fmla="*/ 963 w 2291"/>
                <a:gd name="T59" fmla="*/ 989 h 1936"/>
                <a:gd name="T60" fmla="*/ 1055 w 2291"/>
                <a:gd name="T61" fmla="*/ 996 h 1936"/>
                <a:gd name="T62" fmla="*/ 1148 w 2291"/>
                <a:gd name="T63" fmla="*/ 1026 h 1936"/>
                <a:gd name="T64" fmla="*/ 1234 w 2291"/>
                <a:gd name="T65" fmla="*/ 1072 h 1936"/>
                <a:gd name="T66" fmla="*/ 1305 w 2291"/>
                <a:gd name="T67" fmla="*/ 1132 h 1936"/>
                <a:gd name="T68" fmla="*/ 1359 w 2291"/>
                <a:gd name="T69" fmla="*/ 1191 h 1936"/>
                <a:gd name="T70" fmla="*/ 1414 w 2291"/>
                <a:gd name="T71" fmla="*/ 1278 h 1936"/>
                <a:gd name="T72" fmla="*/ 1479 w 2291"/>
                <a:gd name="T73" fmla="*/ 1400 h 1936"/>
                <a:gd name="T74" fmla="*/ 1553 w 2291"/>
                <a:gd name="T75" fmla="*/ 1508 h 1936"/>
                <a:gd name="T76" fmla="*/ 1625 w 2291"/>
                <a:gd name="T77" fmla="*/ 1592 h 1936"/>
                <a:gd name="T78" fmla="*/ 1722 w 2291"/>
                <a:gd name="T79" fmla="*/ 1684 h 1936"/>
                <a:gd name="T80" fmla="*/ 1858 w 2291"/>
                <a:gd name="T81" fmla="*/ 1783 h 1936"/>
                <a:gd name="T82" fmla="*/ 2024 w 2291"/>
                <a:gd name="T83" fmla="*/ 1871 h 1936"/>
                <a:gd name="T84" fmla="*/ 2113 w 2291"/>
                <a:gd name="T85" fmla="*/ 1905 h 1936"/>
                <a:gd name="T86" fmla="*/ 2203 w 2291"/>
                <a:gd name="T87" fmla="*/ 1927 h 1936"/>
                <a:gd name="T88" fmla="*/ 2291 w 2291"/>
                <a:gd name="T89" fmla="*/ 1936 h 1936"/>
                <a:gd name="T90" fmla="*/ 2170 w 2291"/>
                <a:gd name="T91" fmla="*/ 1826 h 1936"/>
                <a:gd name="T92" fmla="*/ 1903 w 2291"/>
                <a:gd name="T93" fmla="*/ 1544 h 1936"/>
                <a:gd name="T94" fmla="*/ 1493 w 2291"/>
                <a:gd name="T95" fmla="*/ 1107 h 1936"/>
                <a:gd name="T96" fmla="*/ 1188 w 2291"/>
                <a:gd name="T97" fmla="*/ 788 h 1936"/>
                <a:gd name="T98" fmla="*/ 1110 w 2291"/>
                <a:gd name="T99" fmla="*/ 723 h 1936"/>
                <a:gd name="T100" fmla="*/ 1040 w 2291"/>
                <a:gd name="T101" fmla="*/ 687 h 1936"/>
                <a:gd name="T102" fmla="*/ 800 w 2291"/>
                <a:gd name="T103" fmla="*/ 593 h 1936"/>
                <a:gd name="T104" fmla="*/ 565 w 2291"/>
                <a:gd name="T105" fmla="*/ 485 h 1936"/>
                <a:gd name="T106" fmla="*/ 396 w 2291"/>
                <a:gd name="T107" fmla="*/ 389 h 1936"/>
                <a:gd name="T108" fmla="*/ 286 w 2291"/>
                <a:gd name="T109" fmla="*/ 304 h 1936"/>
                <a:gd name="T110" fmla="*/ 219 w 2291"/>
                <a:gd name="T111" fmla="*/ 232 h 1936"/>
                <a:gd name="T112" fmla="*/ 135 w 2291"/>
                <a:gd name="T113" fmla="*/ 100 h 1936"/>
                <a:gd name="T114" fmla="*/ 78 w 2291"/>
                <a:gd name="T115" fmla="*/ 31 h 1936"/>
                <a:gd name="T116" fmla="*/ 43 w 2291"/>
                <a:gd name="T117" fmla="*/ 10 h 1936"/>
                <a:gd name="T118" fmla="*/ 0 w 2291"/>
                <a:gd name="T119" fmla="*/ 0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91" h="1936">
                  <a:moveTo>
                    <a:pt x="0" y="0"/>
                  </a:moveTo>
                  <a:lnTo>
                    <a:pt x="28" y="140"/>
                  </a:lnTo>
                  <a:lnTo>
                    <a:pt x="51" y="207"/>
                  </a:lnTo>
                  <a:lnTo>
                    <a:pt x="76" y="267"/>
                  </a:lnTo>
                  <a:lnTo>
                    <a:pt x="99" y="320"/>
                  </a:lnTo>
                  <a:lnTo>
                    <a:pt x="122" y="368"/>
                  </a:lnTo>
                  <a:lnTo>
                    <a:pt x="145" y="410"/>
                  </a:lnTo>
                  <a:lnTo>
                    <a:pt x="167" y="449"/>
                  </a:lnTo>
                  <a:lnTo>
                    <a:pt x="188" y="481"/>
                  </a:lnTo>
                  <a:lnTo>
                    <a:pt x="208" y="511"/>
                  </a:lnTo>
                  <a:lnTo>
                    <a:pt x="229" y="536"/>
                  </a:lnTo>
                  <a:lnTo>
                    <a:pt x="248" y="557"/>
                  </a:lnTo>
                  <a:lnTo>
                    <a:pt x="267" y="576"/>
                  </a:lnTo>
                  <a:lnTo>
                    <a:pt x="285" y="592"/>
                  </a:lnTo>
                  <a:lnTo>
                    <a:pt x="303" y="607"/>
                  </a:lnTo>
                  <a:lnTo>
                    <a:pt x="320" y="619"/>
                  </a:lnTo>
                  <a:lnTo>
                    <a:pt x="337" y="630"/>
                  </a:lnTo>
                  <a:lnTo>
                    <a:pt x="354" y="641"/>
                  </a:lnTo>
                  <a:lnTo>
                    <a:pt x="385" y="660"/>
                  </a:lnTo>
                  <a:lnTo>
                    <a:pt x="414" y="680"/>
                  </a:lnTo>
                  <a:lnTo>
                    <a:pt x="428" y="693"/>
                  </a:lnTo>
                  <a:lnTo>
                    <a:pt x="440" y="705"/>
                  </a:lnTo>
                  <a:lnTo>
                    <a:pt x="452" y="721"/>
                  </a:lnTo>
                  <a:lnTo>
                    <a:pt x="465" y="738"/>
                  </a:lnTo>
                  <a:lnTo>
                    <a:pt x="476" y="758"/>
                  </a:lnTo>
                  <a:lnTo>
                    <a:pt x="487" y="781"/>
                  </a:lnTo>
                  <a:lnTo>
                    <a:pt x="498" y="808"/>
                  </a:lnTo>
                  <a:lnTo>
                    <a:pt x="508" y="838"/>
                  </a:lnTo>
                  <a:lnTo>
                    <a:pt x="518" y="873"/>
                  </a:lnTo>
                  <a:lnTo>
                    <a:pt x="527" y="913"/>
                  </a:lnTo>
                  <a:lnTo>
                    <a:pt x="535" y="957"/>
                  </a:lnTo>
                  <a:lnTo>
                    <a:pt x="543" y="1008"/>
                  </a:lnTo>
                  <a:lnTo>
                    <a:pt x="555" y="1083"/>
                  </a:lnTo>
                  <a:lnTo>
                    <a:pt x="567" y="1152"/>
                  </a:lnTo>
                  <a:lnTo>
                    <a:pt x="578" y="1215"/>
                  </a:lnTo>
                  <a:lnTo>
                    <a:pt x="591" y="1270"/>
                  </a:lnTo>
                  <a:lnTo>
                    <a:pt x="598" y="1296"/>
                  </a:lnTo>
                  <a:lnTo>
                    <a:pt x="605" y="1320"/>
                  </a:lnTo>
                  <a:lnTo>
                    <a:pt x="613" y="1343"/>
                  </a:lnTo>
                  <a:lnTo>
                    <a:pt x="621" y="1366"/>
                  </a:lnTo>
                  <a:lnTo>
                    <a:pt x="630" y="1387"/>
                  </a:lnTo>
                  <a:lnTo>
                    <a:pt x="639" y="1408"/>
                  </a:lnTo>
                  <a:lnTo>
                    <a:pt x="648" y="1428"/>
                  </a:lnTo>
                  <a:lnTo>
                    <a:pt x="659" y="1447"/>
                  </a:lnTo>
                  <a:lnTo>
                    <a:pt x="670" y="1465"/>
                  </a:lnTo>
                  <a:lnTo>
                    <a:pt x="682" y="1485"/>
                  </a:lnTo>
                  <a:lnTo>
                    <a:pt x="695" y="1503"/>
                  </a:lnTo>
                  <a:lnTo>
                    <a:pt x="709" y="1521"/>
                  </a:lnTo>
                  <a:lnTo>
                    <a:pt x="724" y="1539"/>
                  </a:lnTo>
                  <a:lnTo>
                    <a:pt x="741" y="1557"/>
                  </a:lnTo>
                  <a:lnTo>
                    <a:pt x="757" y="1575"/>
                  </a:lnTo>
                  <a:lnTo>
                    <a:pt x="776" y="1593"/>
                  </a:lnTo>
                  <a:lnTo>
                    <a:pt x="815" y="1631"/>
                  </a:lnTo>
                  <a:lnTo>
                    <a:pt x="861" y="1671"/>
                  </a:lnTo>
                  <a:lnTo>
                    <a:pt x="912" y="1715"/>
                  </a:lnTo>
                  <a:lnTo>
                    <a:pt x="970" y="1762"/>
                  </a:lnTo>
                  <a:lnTo>
                    <a:pt x="985" y="1774"/>
                  </a:lnTo>
                  <a:lnTo>
                    <a:pt x="999" y="1785"/>
                  </a:lnTo>
                  <a:lnTo>
                    <a:pt x="1015" y="1795"/>
                  </a:lnTo>
                  <a:lnTo>
                    <a:pt x="1031" y="1805"/>
                  </a:lnTo>
                  <a:lnTo>
                    <a:pt x="1047" y="1813"/>
                  </a:lnTo>
                  <a:lnTo>
                    <a:pt x="1064" y="1821"/>
                  </a:lnTo>
                  <a:lnTo>
                    <a:pt x="1079" y="1826"/>
                  </a:lnTo>
                  <a:lnTo>
                    <a:pt x="1096" y="1830"/>
                  </a:lnTo>
                  <a:lnTo>
                    <a:pt x="1114" y="1832"/>
                  </a:lnTo>
                  <a:lnTo>
                    <a:pt x="1131" y="1832"/>
                  </a:lnTo>
                  <a:lnTo>
                    <a:pt x="1140" y="1831"/>
                  </a:lnTo>
                  <a:lnTo>
                    <a:pt x="1150" y="1830"/>
                  </a:lnTo>
                  <a:lnTo>
                    <a:pt x="1159" y="1828"/>
                  </a:lnTo>
                  <a:lnTo>
                    <a:pt x="1168" y="1826"/>
                  </a:lnTo>
                  <a:lnTo>
                    <a:pt x="1177" y="1822"/>
                  </a:lnTo>
                  <a:lnTo>
                    <a:pt x="1187" y="1819"/>
                  </a:lnTo>
                  <a:lnTo>
                    <a:pt x="1196" y="1814"/>
                  </a:lnTo>
                  <a:lnTo>
                    <a:pt x="1206" y="1809"/>
                  </a:lnTo>
                  <a:lnTo>
                    <a:pt x="1225" y="1796"/>
                  </a:lnTo>
                  <a:lnTo>
                    <a:pt x="1246" y="1781"/>
                  </a:lnTo>
                  <a:lnTo>
                    <a:pt x="1234" y="1764"/>
                  </a:lnTo>
                  <a:lnTo>
                    <a:pt x="1229" y="1757"/>
                  </a:lnTo>
                  <a:lnTo>
                    <a:pt x="1220" y="1749"/>
                  </a:lnTo>
                  <a:lnTo>
                    <a:pt x="1195" y="1729"/>
                  </a:lnTo>
                  <a:lnTo>
                    <a:pt x="1172" y="1710"/>
                  </a:lnTo>
                  <a:lnTo>
                    <a:pt x="1147" y="1694"/>
                  </a:lnTo>
                  <a:lnTo>
                    <a:pt x="1121" y="1674"/>
                  </a:lnTo>
                  <a:lnTo>
                    <a:pt x="1095" y="1656"/>
                  </a:lnTo>
                  <a:lnTo>
                    <a:pt x="1067" y="1636"/>
                  </a:lnTo>
                  <a:lnTo>
                    <a:pt x="1039" y="1616"/>
                  </a:lnTo>
                  <a:lnTo>
                    <a:pt x="1009" y="1593"/>
                  </a:lnTo>
                  <a:lnTo>
                    <a:pt x="981" y="1569"/>
                  </a:lnTo>
                  <a:lnTo>
                    <a:pt x="954" y="1544"/>
                  </a:lnTo>
                  <a:lnTo>
                    <a:pt x="926" y="1516"/>
                  </a:lnTo>
                  <a:lnTo>
                    <a:pt x="913" y="1503"/>
                  </a:lnTo>
                  <a:lnTo>
                    <a:pt x="900" y="1487"/>
                  </a:lnTo>
                  <a:lnTo>
                    <a:pt x="887" y="1471"/>
                  </a:lnTo>
                  <a:lnTo>
                    <a:pt x="876" y="1455"/>
                  </a:lnTo>
                  <a:lnTo>
                    <a:pt x="864" y="1438"/>
                  </a:lnTo>
                  <a:lnTo>
                    <a:pt x="852" y="1420"/>
                  </a:lnTo>
                  <a:lnTo>
                    <a:pt x="842" y="1402"/>
                  </a:lnTo>
                  <a:lnTo>
                    <a:pt x="832" y="1383"/>
                  </a:lnTo>
                  <a:lnTo>
                    <a:pt x="823" y="1363"/>
                  </a:lnTo>
                  <a:lnTo>
                    <a:pt x="814" y="1342"/>
                  </a:lnTo>
                  <a:lnTo>
                    <a:pt x="806" y="1321"/>
                  </a:lnTo>
                  <a:lnTo>
                    <a:pt x="798" y="1298"/>
                  </a:lnTo>
                  <a:lnTo>
                    <a:pt x="789" y="1263"/>
                  </a:lnTo>
                  <a:lnTo>
                    <a:pt x="782" y="1230"/>
                  </a:lnTo>
                  <a:lnTo>
                    <a:pt x="778" y="1200"/>
                  </a:lnTo>
                  <a:lnTo>
                    <a:pt x="777" y="1172"/>
                  </a:lnTo>
                  <a:lnTo>
                    <a:pt x="778" y="1146"/>
                  </a:lnTo>
                  <a:lnTo>
                    <a:pt x="782" y="1122"/>
                  </a:lnTo>
                  <a:lnTo>
                    <a:pt x="788" y="1100"/>
                  </a:lnTo>
                  <a:lnTo>
                    <a:pt x="796" y="1081"/>
                  </a:lnTo>
                  <a:lnTo>
                    <a:pt x="806" y="1063"/>
                  </a:lnTo>
                  <a:lnTo>
                    <a:pt x="817" y="1048"/>
                  </a:lnTo>
                  <a:lnTo>
                    <a:pt x="831" y="1035"/>
                  </a:lnTo>
                  <a:lnTo>
                    <a:pt x="847" y="1022"/>
                  </a:lnTo>
                  <a:lnTo>
                    <a:pt x="863" y="1012"/>
                  </a:lnTo>
                  <a:lnTo>
                    <a:pt x="881" y="1004"/>
                  </a:lnTo>
                  <a:lnTo>
                    <a:pt x="900" y="998"/>
                  </a:lnTo>
                  <a:lnTo>
                    <a:pt x="920" y="993"/>
                  </a:lnTo>
                  <a:lnTo>
                    <a:pt x="942" y="990"/>
                  </a:lnTo>
                  <a:lnTo>
                    <a:pt x="963" y="989"/>
                  </a:lnTo>
                  <a:lnTo>
                    <a:pt x="986" y="989"/>
                  </a:lnTo>
                  <a:lnTo>
                    <a:pt x="1008" y="990"/>
                  </a:lnTo>
                  <a:lnTo>
                    <a:pt x="1032" y="992"/>
                  </a:lnTo>
                  <a:lnTo>
                    <a:pt x="1055" y="996"/>
                  </a:lnTo>
                  <a:lnTo>
                    <a:pt x="1078" y="1002"/>
                  </a:lnTo>
                  <a:lnTo>
                    <a:pt x="1102" y="1009"/>
                  </a:lnTo>
                  <a:lnTo>
                    <a:pt x="1126" y="1017"/>
                  </a:lnTo>
                  <a:lnTo>
                    <a:pt x="1148" y="1026"/>
                  </a:lnTo>
                  <a:lnTo>
                    <a:pt x="1171" y="1036"/>
                  </a:lnTo>
                  <a:lnTo>
                    <a:pt x="1192" y="1046"/>
                  </a:lnTo>
                  <a:lnTo>
                    <a:pt x="1214" y="1059"/>
                  </a:lnTo>
                  <a:lnTo>
                    <a:pt x="1234" y="1072"/>
                  </a:lnTo>
                  <a:lnTo>
                    <a:pt x="1253" y="1086"/>
                  </a:lnTo>
                  <a:lnTo>
                    <a:pt x="1273" y="1100"/>
                  </a:lnTo>
                  <a:lnTo>
                    <a:pt x="1290" y="1116"/>
                  </a:lnTo>
                  <a:lnTo>
                    <a:pt x="1305" y="1132"/>
                  </a:lnTo>
                  <a:lnTo>
                    <a:pt x="1321" y="1147"/>
                  </a:lnTo>
                  <a:lnTo>
                    <a:pt x="1335" y="1161"/>
                  </a:lnTo>
                  <a:lnTo>
                    <a:pt x="1347" y="1176"/>
                  </a:lnTo>
                  <a:lnTo>
                    <a:pt x="1359" y="1191"/>
                  </a:lnTo>
                  <a:lnTo>
                    <a:pt x="1370" y="1205"/>
                  </a:lnTo>
                  <a:lnTo>
                    <a:pt x="1380" y="1220"/>
                  </a:lnTo>
                  <a:lnTo>
                    <a:pt x="1398" y="1248"/>
                  </a:lnTo>
                  <a:lnTo>
                    <a:pt x="1414" y="1278"/>
                  </a:lnTo>
                  <a:lnTo>
                    <a:pt x="1430" y="1306"/>
                  </a:lnTo>
                  <a:lnTo>
                    <a:pt x="1446" y="1337"/>
                  </a:lnTo>
                  <a:lnTo>
                    <a:pt x="1461" y="1368"/>
                  </a:lnTo>
                  <a:lnTo>
                    <a:pt x="1479" y="1400"/>
                  </a:lnTo>
                  <a:lnTo>
                    <a:pt x="1500" y="1434"/>
                  </a:lnTo>
                  <a:lnTo>
                    <a:pt x="1525" y="1470"/>
                  </a:lnTo>
                  <a:lnTo>
                    <a:pt x="1538" y="1489"/>
                  </a:lnTo>
                  <a:lnTo>
                    <a:pt x="1553" y="1508"/>
                  </a:lnTo>
                  <a:lnTo>
                    <a:pt x="1569" y="1529"/>
                  </a:lnTo>
                  <a:lnTo>
                    <a:pt x="1586" y="1549"/>
                  </a:lnTo>
                  <a:lnTo>
                    <a:pt x="1605" y="1570"/>
                  </a:lnTo>
                  <a:lnTo>
                    <a:pt x="1625" y="1592"/>
                  </a:lnTo>
                  <a:lnTo>
                    <a:pt x="1648" y="1616"/>
                  </a:lnTo>
                  <a:lnTo>
                    <a:pt x="1672" y="1639"/>
                  </a:lnTo>
                  <a:lnTo>
                    <a:pt x="1695" y="1661"/>
                  </a:lnTo>
                  <a:lnTo>
                    <a:pt x="1722" y="1684"/>
                  </a:lnTo>
                  <a:lnTo>
                    <a:pt x="1753" y="1708"/>
                  </a:lnTo>
                  <a:lnTo>
                    <a:pt x="1786" y="1733"/>
                  </a:lnTo>
                  <a:lnTo>
                    <a:pt x="1821" y="1758"/>
                  </a:lnTo>
                  <a:lnTo>
                    <a:pt x="1858" y="1783"/>
                  </a:lnTo>
                  <a:lnTo>
                    <a:pt x="1897" y="1806"/>
                  </a:lnTo>
                  <a:lnTo>
                    <a:pt x="1938" y="1829"/>
                  </a:lnTo>
                  <a:lnTo>
                    <a:pt x="1981" y="1852"/>
                  </a:lnTo>
                  <a:lnTo>
                    <a:pt x="2024" y="1871"/>
                  </a:lnTo>
                  <a:lnTo>
                    <a:pt x="2046" y="1881"/>
                  </a:lnTo>
                  <a:lnTo>
                    <a:pt x="2068" y="1889"/>
                  </a:lnTo>
                  <a:lnTo>
                    <a:pt x="2091" y="1897"/>
                  </a:lnTo>
                  <a:lnTo>
                    <a:pt x="2113" y="1905"/>
                  </a:lnTo>
                  <a:lnTo>
                    <a:pt x="2135" y="1912"/>
                  </a:lnTo>
                  <a:lnTo>
                    <a:pt x="2157" y="1917"/>
                  </a:lnTo>
                  <a:lnTo>
                    <a:pt x="2180" y="1923"/>
                  </a:lnTo>
                  <a:lnTo>
                    <a:pt x="2203" y="1927"/>
                  </a:lnTo>
                  <a:lnTo>
                    <a:pt x="2225" y="1931"/>
                  </a:lnTo>
                  <a:lnTo>
                    <a:pt x="2247" y="1934"/>
                  </a:lnTo>
                  <a:lnTo>
                    <a:pt x="2269" y="1935"/>
                  </a:lnTo>
                  <a:lnTo>
                    <a:pt x="2291" y="1936"/>
                  </a:lnTo>
                  <a:lnTo>
                    <a:pt x="2262" y="1913"/>
                  </a:lnTo>
                  <a:lnTo>
                    <a:pt x="2233" y="1886"/>
                  </a:lnTo>
                  <a:lnTo>
                    <a:pt x="2201" y="1857"/>
                  </a:lnTo>
                  <a:lnTo>
                    <a:pt x="2170" y="1826"/>
                  </a:lnTo>
                  <a:lnTo>
                    <a:pt x="2104" y="1759"/>
                  </a:lnTo>
                  <a:lnTo>
                    <a:pt x="2036" y="1688"/>
                  </a:lnTo>
                  <a:lnTo>
                    <a:pt x="1969" y="1616"/>
                  </a:lnTo>
                  <a:lnTo>
                    <a:pt x="1903" y="1544"/>
                  </a:lnTo>
                  <a:lnTo>
                    <a:pt x="1841" y="1477"/>
                  </a:lnTo>
                  <a:lnTo>
                    <a:pt x="1785" y="1416"/>
                  </a:lnTo>
                  <a:lnTo>
                    <a:pt x="1624" y="1246"/>
                  </a:lnTo>
                  <a:lnTo>
                    <a:pt x="1493" y="1107"/>
                  </a:lnTo>
                  <a:lnTo>
                    <a:pt x="1388" y="995"/>
                  </a:lnTo>
                  <a:lnTo>
                    <a:pt x="1304" y="907"/>
                  </a:lnTo>
                  <a:lnTo>
                    <a:pt x="1239" y="838"/>
                  </a:lnTo>
                  <a:lnTo>
                    <a:pt x="1188" y="788"/>
                  </a:lnTo>
                  <a:lnTo>
                    <a:pt x="1165" y="767"/>
                  </a:lnTo>
                  <a:lnTo>
                    <a:pt x="1146" y="750"/>
                  </a:lnTo>
                  <a:lnTo>
                    <a:pt x="1127" y="736"/>
                  </a:lnTo>
                  <a:lnTo>
                    <a:pt x="1110" y="723"/>
                  </a:lnTo>
                  <a:lnTo>
                    <a:pt x="1093" y="712"/>
                  </a:lnTo>
                  <a:lnTo>
                    <a:pt x="1076" y="703"/>
                  </a:lnTo>
                  <a:lnTo>
                    <a:pt x="1059" y="694"/>
                  </a:lnTo>
                  <a:lnTo>
                    <a:pt x="1040" y="687"/>
                  </a:lnTo>
                  <a:lnTo>
                    <a:pt x="999" y="671"/>
                  </a:lnTo>
                  <a:lnTo>
                    <a:pt x="947" y="652"/>
                  </a:lnTo>
                  <a:lnTo>
                    <a:pt x="883" y="628"/>
                  </a:lnTo>
                  <a:lnTo>
                    <a:pt x="800" y="593"/>
                  </a:lnTo>
                  <a:lnTo>
                    <a:pt x="751" y="572"/>
                  </a:lnTo>
                  <a:lnTo>
                    <a:pt x="695" y="547"/>
                  </a:lnTo>
                  <a:lnTo>
                    <a:pt x="634" y="518"/>
                  </a:lnTo>
                  <a:lnTo>
                    <a:pt x="565" y="485"/>
                  </a:lnTo>
                  <a:lnTo>
                    <a:pt x="520" y="461"/>
                  </a:lnTo>
                  <a:lnTo>
                    <a:pt x="477" y="438"/>
                  </a:lnTo>
                  <a:lnTo>
                    <a:pt x="435" y="414"/>
                  </a:lnTo>
                  <a:lnTo>
                    <a:pt x="396" y="389"/>
                  </a:lnTo>
                  <a:lnTo>
                    <a:pt x="357" y="362"/>
                  </a:lnTo>
                  <a:lnTo>
                    <a:pt x="321" y="334"/>
                  </a:lnTo>
                  <a:lnTo>
                    <a:pt x="303" y="320"/>
                  </a:lnTo>
                  <a:lnTo>
                    <a:pt x="286" y="304"/>
                  </a:lnTo>
                  <a:lnTo>
                    <a:pt x="270" y="289"/>
                  </a:lnTo>
                  <a:lnTo>
                    <a:pt x="254" y="273"/>
                  </a:lnTo>
                  <a:lnTo>
                    <a:pt x="235" y="253"/>
                  </a:lnTo>
                  <a:lnTo>
                    <a:pt x="219" y="232"/>
                  </a:lnTo>
                  <a:lnTo>
                    <a:pt x="203" y="209"/>
                  </a:lnTo>
                  <a:lnTo>
                    <a:pt x="188" y="187"/>
                  </a:lnTo>
                  <a:lnTo>
                    <a:pt x="161" y="142"/>
                  </a:lnTo>
                  <a:lnTo>
                    <a:pt x="135" y="100"/>
                  </a:lnTo>
                  <a:lnTo>
                    <a:pt x="122" y="80"/>
                  </a:lnTo>
                  <a:lnTo>
                    <a:pt x="109" y="62"/>
                  </a:lnTo>
                  <a:lnTo>
                    <a:pt x="94" y="45"/>
                  </a:lnTo>
                  <a:lnTo>
                    <a:pt x="78" y="31"/>
                  </a:lnTo>
                  <a:lnTo>
                    <a:pt x="70" y="25"/>
                  </a:lnTo>
                  <a:lnTo>
                    <a:pt x="61" y="19"/>
                  </a:lnTo>
                  <a:lnTo>
                    <a:pt x="52" y="14"/>
                  </a:lnTo>
                  <a:lnTo>
                    <a:pt x="43" y="10"/>
                  </a:lnTo>
                  <a:lnTo>
                    <a:pt x="33" y="6"/>
                  </a:lnTo>
                  <a:lnTo>
                    <a:pt x="23" y="3"/>
                  </a:lnTo>
                  <a:lnTo>
                    <a:pt x="12"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prstClr val="black"/>
                </a:solidFill>
                <a:latin typeface="Calibri"/>
              </a:endParaRPr>
            </a:p>
          </p:txBody>
        </p:sp>
        <p:sp>
          <p:nvSpPr>
            <p:cNvPr id="13" name="Freeform 11"/>
            <p:cNvSpPr>
              <a:spLocks/>
            </p:cNvSpPr>
            <p:nvPr/>
          </p:nvSpPr>
          <p:spPr bwMode="auto">
            <a:xfrm>
              <a:off x="9105900" y="3125788"/>
              <a:ext cx="930275" cy="939800"/>
            </a:xfrm>
            <a:custGeom>
              <a:avLst/>
              <a:gdLst>
                <a:gd name="T0" fmla="*/ 1756 w 1760"/>
                <a:gd name="T1" fmla="*/ 1754 h 1775"/>
                <a:gd name="T2" fmla="*/ 1760 w 1760"/>
                <a:gd name="T3" fmla="*/ 1708 h 1775"/>
                <a:gd name="T4" fmla="*/ 1748 w 1760"/>
                <a:gd name="T5" fmla="*/ 1652 h 1775"/>
                <a:gd name="T6" fmla="*/ 1726 w 1760"/>
                <a:gd name="T7" fmla="*/ 1589 h 1775"/>
                <a:gd name="T8" fmla="*/ 1693 w 1760"/>
                <a:gd name="T9" fmla="*/ 1522 h 1775"/>
                <a:gd name="T10" fmla="*/ 1652 w 1760"/>
                <a:gd name="T11" fmla="*/ 1449 h 1775"/>
                <a:gd name="T12" fmla="*/ 1604 w 1760"/>
                <a:gd name="T13" fmla="*/ 1375 h 1775"/>
                <a:gd name="T14" fmla="*/ 1552 w 1760"/>
                <a:gd name="T15" fmla="*/ 1299 h 1775"/>
                <a:gd name="T16" fmla="*/ 1467 w 1760"/>
                <a:gd name="T17" fmla="*/ 1187 h 1775"/>
                <a:gd name="T18" fmla="*/ 1354 w 1760"/>
                <a:gd name="T19" fmla="*/ 1047 h 1775"/>
                <a:gd name="T20" fmla="*/ 1251 w 1760"/>
                <a:gd name="T21" fmla="*/ 930 h 1775"/>
                <a:gd name="T22" fmla="*/ 1174 w 1760"/>
                <a:gd name="T23" fmla="*/ 846 h 1775"/>
                <a:gd name="T24" fmla="*/ 1099 w 1760"/>
                <a:gd name="T25" fmla="*/ 772 h 1775"/>
                <a:gd name="T26" fmla="*/ 995 w 1760"/>
                <a:gd name="T27" fmla="*/ 680 h 1775"/>
                <a:gd name="T28" fmla="*/ 887 w 1760"/>
                <a:gd name="T29" fmla="*/ 593 h 1775"/>
                <a:gd name="T30" fmla="*/ 775 w 1760"/>
                <a:gd name="T31" fmla="*/ 503 h 1775"/>
                <a:gd name="T32" fmla="*/ 662 w 1760"/>
                <a:gd name="T33" fmla="*/ 407 h 1775"/>
                <a:gd name="T34" fmla="*/ 579 w 1760"/>
                <a:gd name="T35" fmla="*/ 326 h 1775"/>
                <a:gd name="T36" fmla="*/ 522 w 1760"/>
                <a:gd name="T37" fmla="*/ 263 h 1775"/>
                <a:gd name="T38" fmla="*/ 485 w 1760"/>
                <a:gd name="T39" fmla="*/ 211 h 1775"/>
                <a:gd name="T40" fmla="*/ 448 w 1760"/>
                <a:gd name="T41" fmla="*/ 145 h 1775"/>
                <a:gd name="T42" fmla="*/ 413 w 1760"/>
                <a:gd name="T43" fmla="*/ 79 h 1775"/>
                <a:gd name="T44" fmla="*/ 377 w 1760"/>
                <a:gd name="T45" fmla="*/ 29 h 1775"/>
                <a:gd name="T46" fmla="*/ 335 w 1760"/>
                <a:gd name="T47" fmla="*/ 0 h 1775"/>
                <a:gd name="T48" fmla="*/ 303 w 1760"/>
                <a:gd name="T49" fmla="*/ 1 h 1775"/>
                <a:gd name="T50" fmla="*/ 275 w 1760"/>
                <a:gd name="T51" fmla="*/ 5 h 1775"/>
                <a:gd name="T52" fmla="*/ 251 w 1760"/>
                <a:gd name="T53" fmla="*/ 10 h 1775"/>
                <a:gd name="T54" fmla="*/ 231 w 1760"/>
                <a:gd name="T55" fmla="*/ 17 h 1775"/>
                <a:gd name="T56" fmla="*/ 213 w 1760"/>
                <a:gd name="T57" fmla="*/ 27 h 1775"/>
                <a:gd name="T58" fmla="*/ 198 w 1760"/>
                <a:gd name="T59" fmla="*/ 37 h 1775"/>
                <a:gd name="T60" fmla="*/ 186 w 1760"/>
                <a:gd name="T61" fmla="*/ 51 h 1775"/>
                <a:gd name="T62" fmla="*/ 170 w 1760"/>
                <a:gd name="T63" fmla="*/ 73 h 1775"/>
                <a:gd name="T64" fmla="*/ 152 w 1760"/>
                <a:gd name="T65" fmla="*/ 110 h 1775"/>
                <a:gd name="T66" fmla="*/ 125 w 1760"/>
                <a:gd name="T67" fmla="*/ 175 h 1775"/>
                <a:gd name="T68" fmla="*/ 91 w 1760"/>
                <a:gd name="T69" fmla="*/ 249 h 1775"/>
                <a:gd name="T70" fmla="*/ 66 w 1760"/>
                <a:gd name="T71" fmla="*/ 289 h 1775"/>
                <a:gd name="T72" fmla="*/ 42 w 1760"/>
                <a:gd name="T73" fmla="*/ 325 h 1775"/>
                <a:gd name="T74" fmla="*/ 22 w 1760"/>
                <a:gd name="T75" fmla="*/ 360 h 1775"/>
                <a:gd name="T76" fmla="*/ 7 w 1760"/>
                <a:gd name="T77" fmla="*/ 397 h 1775"/>
                <a:gd name="T78" fmla="*/ 1 w 1760"/>
                <a:gd name="T79" fmla="*/ 424 h 1775"/>
                <a:gd name="T80" fmla="*/ 0 w 1760"/>
                <a:gd name="T81" fmla="*/ 444 h 1775"/>
                <a:gd name="T82" fmla="*/ 3 w 1760"/>
                <a:gd name="T83" fmla="*/ 464 h 1775"/>
                <a:gd name="T84" fmla="*/ 9 w 1760"/>
                <a:gd name="T85" fmla="*/ 487 h 1775"/>
                <a:gd name="T86" fmla="*/ 18 w 1760"/>
                <a:gd name="T87" fmla="*/ 511 h 1775"/>
                <a:gd name="T88" fmla="*/ 32 w 1760"/>
                <a:gd name="T89" fmla="*/ 537 h 1775"/>
                <a:gd name="T90" fmla="*/ 47 w 1760"/>
                <a:gd name="T91" fmla="*/ 560 h 1775"/>
                <a:gd name="T92" fmla="*/ 67 w 1760"/>
                <a:gd name="T93" fmla="*/ 580 h 1775"/>
                <a:gd name="T94" fmla="*/ 94 w 1760"/>
                <a:gd name="T95" fmla="*/ 599 h 1775"/>
                <a:gd name="T96" fmla="*/ 128 w 1760"/>
                <a:gd name="T97" fmla="*/ 619 h 1775"/>
                <a:gd name="T98" fmla="*/ 188 w 1760"/>
                <a:gd name="T99" fmla="*/ 650 h 1775"/>
                <a:gd name="T100" fmla="*/ 282 w 1760"/>
                <a:gd name="T101" fmla="*/ 690 h 1775"/>
                <a:gd name="T102" fmla="*/ 435 w 1760"/>
                <a:gd name="T103" fmla="*/ 751 h 1775"/>
                <a:gd name="T104" fmla="*/ 582 w 1760"/>
                <a:gd name="T105" fmla="*/ 809 h 1775"/>
                <a:gd name="T106" fmla="*/ 664 w 1760"/>
                <a:gd name="T107" fmla="*/ 844 h 1775"/>
                <a:gd name="T108" fmla="*/ 737 w 1760"/>
                <a:gd name="T109" fmla="*/ 885 h 1775"/>
                <a:gd name="T110" fmla="*/ 815 w 1760"/>
                <a:gd name="T111" fmla="*/ 931 h 1775"/>
                <a:gd name="T112" fmla="*/ 890 w 1760"/>
                <a:gd name="T113" fmla="*/ 981 h 1775"/>
                <a:gd name="T114" fmla="*/ 961 w 1760"/>
                <a:gd name="T115" fmla="*/ 1031 h 1775"/>
                <a:gd name="T116" fmla="*/ 1029 w 1760"/>
                <a:gd name="T117" fmla="*/ 1083 h 1775"/>
                <a:gd name="T118" fmla="*/ 1093 w 1760"/>
                <a:gd name="T119" fmla="*/ 1136 h 1775"/>
                <a:gd name="T120" fmla="*/ 1186 w 1760"/>
                <a:gd name="T121" fmla="*/ 1219 h 1775"/>
                <a:gd name="T122" fmla="*/ 1749 w 1760"/>
                <a:gd name="T123" fmla="*/ 1775 h 1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0" h="1775">
                  <a:moveTo>
                    <a:pt x="1749" y="1775"/>
                  </a:moveTo>
                  <a:lnTo>
                    <a:pt x="1756" y="1754"/>
                  </a:lnTo>
                  <a:lnTo>
                    <a:pt x="1760" y="1732"/>
                  </a:lnTo>
                  <a:lnTo>
                    <a:pt x="1760" y="1708"/>
                  </a:lnTo>
                  <a:lnTo>
                    <a:pt x="1755" y="1681"/>
                  </a:lnTo>
                  <a:lnTo>
                    <a:pt x="1748" y="1652"/>
                  </a:lnTo>
                  <a:lnTo>
                    <a:pt x="1738" y="1621"/>
                  </a:lnTo>
                  <a:lnTo>
                    <a:pt x="1726" y="1589"/>
                  </a:lnTo>
                  <a:lnTo>
                    <a:pt x="1710" y="1557"/>
                  </a:lnTo>
                  <a:lnTo>
                    <a:pt x="1693" y="1522"/>
                  </a:lnTo>
                  <a:lnTo>
                    <a:pt x="1674" y="1486"/>
                  </a:lnTo>
                  <a:lnTo>
                    <a:pt x="1652" y="1449"/>
                  </a:lnTo>
                  <a:lnTo>
                    <a:pt x="1629" y="1412"/>
                  </a:lnTo>
                  <a:lnTo>
                    <a:pt x="1604" y="1375"/>
                  </a:lnTo>
                  <a:lnTo>
                    <a:pt x="1578" y="1338"/>
                  </a:lnTo>
                  <a:lnTo>
                    <a:pt x="1552" y="1299"/>
                  </a:lnTo>
                  <a:lnTo>
                    <a:pt x="1523" y="1262"/>
                  </a:lnTo>
                  <a:lnTo>
                    <a:pt x="1467" y="1187"/>
                  </a:lnTo>
                  <a:lnTo>
                    <a:pt x="1409" y="1115"/>
                  </a:lnTo>
                  <a:lnTo>
                    <a:pt x="1354" y="1047"/>
                  </a:lnTo>
                  <a:lnTo>
                    <a:pt x="1300" y="985"/>
                  </a:lnTo>
                  <a:lnTo>
                    <a:pt x="1251" y="930"/>
                  </a:lnTo>
                  <a:lnTo>
                    <a:pt x="1209" y="882"/>
                  </a:lnTo>
                  <a:lnTo>
                    <a:pt x="1174" y="846"/>
                  </a:lnTo>
                  <a:lnTo>
                    <a:pt x="1149" y="821"/>
                  </a:lnTo>
                  <a:lnTo>
                    <a:pt x="1099" y="772"/>
                  </a:lnTo>
                  <a:lnTo>
                    <a:pt x="1047" y="725"/>
                  </a:lnTo>
                  <a:lnTo>
                    <a:pt x="995" y="680"/>
                  </a:lnTo>
                  <a:lnTo>
                    <a:pt x="942" y="637"/>
                  </a:lnTo>
                  <a:lnTo>
                    <a:pt x="887" y="593"/>
                  </a:lnTo>
                  <a:lnTo>
                    <a:pt x="832" y="549"/>
                  </a:lnTo>
                  <a:lnTo>
                    <a:pt x="775" y="503"/>
                  </a:lnTo>
                  <a:lnTo>
                    <a:pt x="718" y="454"/>
                  </a:lnTo>
                  <a:lnTo>
                    <a:pt x="662" y="407"/>
                  </a:lnTo>
                  <a:lnTo>
                    <a:pt x="617" y="365"/>
                  </a:lnTo>
                  <a:lnTo>
                    <a:pt x="579" y="326"/>
                  </a:lnTo>
                  <a:lnTo>
                    <a:pt x="548" y="294"/>
                  </a:lnTo>
                  <a:lnTo>
                    <a:pt x="522" y="263"/>
                  </a:lnTo>
                  <a:lnTo>
                    <a:pt x="502" y="236"/>
                  </a:lnTo>
                  <a:lnTo>
                    <a:pt x="485" y="211"/>
                  </a:lnTo>
                  <a:lnTo>
                    <a:pt x="470" y="188"/>
                  </a:lnTo>
                  <a:lnTo>
                    <a:pt x="448" y="145"/>
                  </a:lnTo>
                  <a:lnTo>
                    <a:pt x="426" y="103"/>
                  </a:lnTo>
                  <a:lnTo>
                    <a:pt x="413" y="79"/>
                  </a:lnTo>
                  <a:lnTo>
                    <a:pt x="397" y="55"/>
                  </a:lnTo>
                  <a:lnTo>
                    <a:pt x="377" y="29"/>
                  </a:lnTo>
                  <a:lnTo>
                    <a:pt x="353" y="0"/>
                  </a:lnTo>
                  <a:lnTo>
                    <a:pt x="335" y="0"/>
                  </a:lnTo>
                  <a:lnTo>
                    <a:pt x="318" y="0"/>
                  </a:lnTo>
                  <a:lnTo>
                    <a:pt x="303" y="1"/>
                  </a:lnTo>
                  <a:lnTo>
                    <a:pt x="288" y="2"/>
                  </a:lnTo>
                  <a:lnTo>
                    <a:pt x="275" y="5"/>
                  </a:lnTo>
                  <a:lnTo>
                    <a:pt x="262" y="7"/>
                  </a:lnTo>
                  <a:lnTo>
                    <a:pt x="251" y="10"/>
                  </a:lnTo>
                  <a:lnTo>
                    <a:pt x="241" y="14"/>
                  </a:lnTo>
                  <a:lnTo>
                    <a:pt x="231" y="17"/>
                  </a:lnTo>
                  <a:lnTo>
                    <a:pt x="222" y="21"/>
                  </a:lnTo>
                  <a:lnTo>
                    <a:pt x="213" y="27"/>
                  </a:lnTo>
                  <a:lnTo>
                    <a:pt x="205" y="32"/>
                  </a:lnTo>
                  <a:lnTo>
                    <a:pt x="198" y="37"/>
                  </a:lnTo>
                  <a:lnTo>
                    <a:pt x="191" y="44"/>
                  </a:lnTo>
                  <a:lnTo>
                    <a:pt x="186" y="51"/>
                  </a:lnTo>
                  <a:lnTo>
                    <a:pt x="180" y="58"/>
                  </a:lnTo>
                  <a:lnTo>
                    <a:pt x="170" y="73"/>
                  </a:lnTo>
                  <a:lnTo>
                    <a:pt x="160" y="90"/>
                  </a:lnTo>
                  <a:lnTo>
                    <a:pt x="152" y="110"/>
                  </a:lnTo>
                  <a:lnTo>
                    <a:pt x="143" y="130"/>
                  </a:lnTo>
                  <a:lnTo>
                    <a:pt x="125" y="175"/>
                  </a:lnTo>
                  <a:lnTo>
                    <a:pt x="102" y="227"/>
                  </a:lnTo>
                  <a:lnTo>
                    <a:pt x="91" y="249"/>
                  </a:lnTo>
                  <a:lnTo>
                    <a:pt x="78" y="270"/>
                  </a:lnTo>
                  <a:lnTo>
                    <a:pt x="66" y="289"/>
                  </a:lnTo>
                  <a:lnTo>
                    <a:pt x="53" y="308"/>
                  </a:lnTo>
                  <a:lnTo>
                    <a:pt x="42" y="325"/>
                  </a:lnTo>
                  <a:lnTo>
                    <a:pt x="31" y="343"/>
                  </a:lnTo>
                  <a:lnTo>
                    <a:pt x="22" y="360"/>
                  </a:lnTo>
                  <a:lnTo>
                    <a:pt x="13" y="378"/>
                  </a:lnTo>
                  <a:lnTo>
                    <a:pt x="7" y="397"/>
                  </a:lnTo>
                  <a:lnTo>
                    <a:pt x="3" y="415"/>
                  </a:lnTo>
                  <a:lnTo>
                    <a:pt x="1" y="424"/>
                  </a:lnTo>
                  <a:lnTo>
                    <a:pt x="0" y="434"/>
                  </a:lnTo>
                  <a:lnTo>
                    <a:pt x="0" y="444"/>
                  </a:lnTo>
                  <a:lnTo>
                    <a:pt x="1" y="454"/>
                  </a:lnTo>
                  <a:lnTo>
                    <a:pt x="3" y="464"/>
                  </a:lnTo>
                  <a:lnTo>
                    <a:pt x="6" y="476"/>
                  </a:lnTo>
                  <a:lnTo>
                    <a:pt x="9" y="487"/>
                  </a:lnTo>
                  <a:lnTo>
                    <a:pt x="13" y="498"/>
                  </a:lnTo>
                  <a:lnTo>
                    <a:pt x="18" y="511"/>
                  </a:lnTo>
                  <a:lnTo>
                    <a:pt x="24" y="523"/>
                  </a:lnTo>
                  <a:lnTo>
                    <a:pt x="32" y="537"/>
                  </a:lnTo>
                  <a:lnTo>
                    <a:pt x="40" y="550"/>
                  </a:lnTo>
                  <a:lnTo>
                    <a:pt x="47" y="560"/>
                  </a:lnTo>
                  <a:lnTo>
                    <a:pt x="56" y="569"/>
                  </a:lnTo>
                  <a:lnTo>
                    <a:pt x="67" y="580"/>
                  </a:lnTo>
                  <a:lnTo>
                    <a:pt x="79" y="590"/>
                  </a:lnTo>
                  <a:lnTo>
                    <a:pt x="94" y="599"/>
                  </a:lnTo>
                  <a:lnTo>
                    <a:pt x="111" y="609"/>
                  </a:lnTo>
                  <a:lnTo>
                    <a:pt x="128" y="619"/>
                  </a:lnTo>
                  <a:lnTo>
                    <a:pt x="147" y="629"/>
                  </a:lnTo>
                  <a:lnTo>
                    <a:pt x="188" y="650"/>
                  </a:lnTo>
                  <a:lnTo>
                    <a:pt x="234" y="670"/>
                  </a:lnTo>
                  <a:lnTo>
                    <a:pt x="282" y="690"/>
                  </a:lnTo>
                  <a:lnTo>
                    <a:pt x="333" y="711"/>
                  </a:lnTo>
                  <a:lnTo>
                    <a:pt x="435" y="751"/>
                  </a:lnTo>
                  <a:lnTo>
                    <a:pt x="536" y="790"/>
                  </a:lnTo>
                  <a:lnTo>
                    <a:pt x="582" y="809"/>
                  </a:lnTo>
                  <a:lnTo>
                    <a:pt x="625" y="827"/>
                  </a:lnTo>
                  <a:lnTo>
                    <a:pt x="664" y="844"/>
                  </a:lnTo>
                  <a:lnTo>
                    <a:pt x="696" y="861"/>
                  </a:lnTo>
                  <a:lnTo>
                    <a:pt x="737" y="885"/>
                  </a:lnTo>
                  <a:lnTo>
                    <a:pt x="777" y="907"/>
                  </a:lnTo>
                  <a:lnTo>
                    <a:pt x="815" y="931"/>
                  </a:lnTo>
                  <a:lnTo>
                    <a:pt x="853" y="956"/>
                  </a:lnTo>
                  <a:lnTo>
                    <a:pt x="890" y="981"/>
                  </a:lnTo>
                  <a:lnTo>
                    <a:pt x="926" y="1005"/>
                  </a:lnTo>
                  <a:lnTo>
                    <a:pt x="961" y="1031"/>
                  </a:lnTo>
                  <a:lnTo>
                    <a:pt x="995" y="1056"/>
                  </a:lnTo>
                  <a:lnTo>
                    <a:pt x="1029" y="1083"/>
                  </a:lnTo>
                  <a:lnTo>
                    <a:pt x="1061" y="1109"/>
                  </a:lnTo>
                  <a:lnTo>
                    <a:pt x="1093" y="1136"/>
                  </a:lnTo>
                  <a:lnTo>
                    <a:pt x="1125" y="1164"/>
                  </a:lnTo>
                  <a:lnTo>
                    <a:pt x="1186" y="1219"/>
                  </a:lnTo>
                  <a:lnTo>
                    <a:pt x="1245" y="1277"/>
                  </a:lnTo>
                  <a:lnTo>
                    <a:pt x="1749" y="17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prstClr val="black"/>
                </a:solidFill>
                <a:latin typeface="Calibri"/>
              </a:endParaRPr>
            </a:p>
          </p:txBody>
        </p:sp>
        <p:sp>
          <p:nvSpPr>
            <p:cNvPr id="14" name="Freeform 12"/>
            <p:cNvSpPr>
              <a:spLocks/>
            </p:cNvSpPr>
            <p:nvPr/>
          </p:nvSpPr>
          <p:spPr bwMode="auto">
            <a:xfrm>
              <a:off x="7850188" y="3206750"/>
              <a:ext cx="909638" cy="792163"/>
            </a:xfrm>
            <a:custGeom>
              <a:avLst/>
              <a:gdLst>
                <a:gd name="T0" fmla="*/ 9 w 1720"/>
                <a:gd name="T1" fmla="*/ 107 h 1495"/>
                <a:gd name="T2" fmla="*/ 30 w 1720"/>
                <a:gd name="T3" fmla="*/ 189 h 1495"/>
                <a:gd name="T4" fmla="*/ 73 w 1720"/>
                <a:gd name="T5" fmla="*/ 290 h 1495"/>
                <a:gd name="T6" fmla="*/ 96 w 1720"/>
                <a:gd name="T7" fmla="*/ 359 h 1495"/>
                <a:gd name="T8" fmla="*/ 102 w 1720"/>
                <a:gd name="T9" fmla="*/ 432 h 1495"/>
                <a:gd name="T10" fmla="*/ 92 w 1720"/>
                <a:gd name="T11" fmla="*/ 535 h 1495"/>
                <a:gd name="T12" fmla="*/ 61 w 1720"/>
                <a:gd name="T13" fmla="*/ 680 h 1495"/>
                <a:gd name="T14" fmla="*/ 99 w 1720"/>
                <a:gd name="T15" fmla="*/ 718 h 1495"/>
                <a:gd name="T16" fmla="*/ 149 w 1720"/>
                <a:gd name="T17" fmla="*/ 701 h 1495"/>
                <a:gd name="T18" fmla="*/ 185 w 1720"/>
                <a:gd name="T19" fmla="*/ 676 h 1495"/>
                <a:gd name="T20" fmla="*/ 237 w 1720"/>
                <a:gd name="T21" fmla="*/ 599 h 1495"/>
                <a:gd name="T22" fmla="*/ 296 w 1720"/>
                <a:gd name="T23" fmla="*/ 504 h 1495"/>
                <a:gd name="T24" fmla="*/ 345 w 1720"/>
                <a:gd name="T25" fmla="*/ 530 h 1495"/>
                <a:gd name="T26" fmla="*/ 421 w 1720"/>
                <a:gd name="T27" fmla="*/ 713 h 1495"/>
                <a:gd name="T28" fmla="*/ 493 w 1720"/>
                <a:gd name="T29" fmla="*/ 823 h 1495"/>
                <a:gd name="T30" fmla="*/ 568 w 1720"/>
                <a:gd name="T31" fmla="*/ 880 h 1495"/>
                <a:gd name="T32" fmla="*/ 645 w 1720"/>
                <a:gd name="T33" fmla="*/ 901 h 1495"/>
                <a:gd name="T34" fmla="*/ 750 w 1720"/>
                <a:gd name="T35" fmla="*/ 909 h 1495"/>
                <a:gd name="T36" fmla="*/ 870 w 1720"/>
                <a:gd name="T37" fmla="*/ 930 h 1495"/>
                <a:gd name="T38" fmla="*/ 979 w 1720"/>
                <a:gd name="T39" fmla="*/ 983 h 1495"/>
                <a:gd name="T40" fmla="*/ 1054 w 1720"/>
                <a:gd name="T41" fmla="*/ 1043 h 1495"/>
                <a:gd name="T42" fmla="*/ 1178 w 1720"/>
                <a:gd name="T43" fmla="*/ 1183 h 1495"/>
                <a:gd name="T44" fmla="*/ 1329 w 1720"/>
                <a:gd name="T45" fmla="*/ 1345 h 1495"/>
                <a:gd name="T46" fmla="*/ 1426 w 1720"/>
                <a:gd name="T47" fmla="*/ 1423 h 1495"/>
                <a:gd name="T48" fmla="*/ 1527 w 1720"/>
                <a:gd name="T49" fmla="*/ 1476 h 1495"/>
                <a:gd name="T50" fmla="*/ 1636 w 1720"/>
                <a:gd name="T51" fmla="*/ 1495 h 1495"/>
                <a:gd name="T52" fmla="*/ 1709 w 1720"/>
                <a:gd name="T53" fmla="*/ 1459 h 1495"/>
                <a:gd name="T54" fmla="*/ 1664 w 1720"/>
                <a:gd name="T55" fmla="*/ 1400 h 1495"/>
                <a:gd name="T56" fmla="*/ 1605 w 1720"/>
                <a:gd name="T57" fmla="*/ 1354 h 1495"/>
                <a:gd name="T58" fmla="*/ 1503 w 1720"/>
                <a:gd name="T59" fmla="*/ 1294 h 1495"/>
                <a:gd name="T60" fmla="*/ 1429 w 1720"/>
                <a:gd name="T61" fmla="*/ 1237 h 1495"/>
                <a:gd name="T62" fmla="*/ 1337 w 1720"/>
                <a:gd name="T63" fmla="*/ 1145 h 1495"/>
                <a:gd name="T64" fmla="*/ 1226 w 1720"/>
                <a:gd name="T65" fmla="*/ 1004 h 1495"/>
                <a:gd name="T66" fmla="*/ 1099 w 1720"/>
                <a:gd name="T67" fmla="*/ 819 h 1495"/>
                <a:gd name="T68" fmla="*/ 1045 w 1720"/>
                <a:gd name="T69" fmla="*/ 756 h 1495"/>
                <a:gd name="T70" fmla="*/ 989 w 1720"/>
                <a:gd name="T71" fmla="*/ 733 h 1495"/>
                <a:gd name="T72" fmla="*/ 839 w 1720"/>
                <a:gd name="T73" fmla="*/ 706 h 1495"/>
                <a:gd name="T74" fmla="*/ 752 w 1720"/>
                <a:gd name="T75" fmla="*/ 681 h 1495"/>
                <a:gd name="T76" fmla="*/ 690 w 1720"/>
                <a:gd name="T77" fmla="*/ 648 h 1495"/>
                <a:gd name="T78" fmla="*/ 645 w 1720"/>
                <a:gd name="T79" fmla="*/ 606 h 1495"/>
                <a:gd name="T80" fmla="*/ 605 w 1720"/>
                <a:gd name="T81" fmla="*/ 542 h 1495"/>
                <a:gd name="T82" fmla="*/ 549 w 1720"/>
                <a:gd name="T83" fmla="*/ 410 h 1495"/>
                <a:gd name="T84" fmla="*/ 498 w 1720"/>
                <a:gd name="T85" fmla="*/ 309 h 1495"/>
                <a:gd name="T86" fmla="*/ 426 w 1720"/>
                <a:gd name="T87" fmla="*/ 197 h 1495"/>
                <a:gd name="T88" fmla="*/ 340 w 1720"/>
                <a:gd name="T89" fmla="*/ 98 h 1495"/>
                <a:gd name="T90" fmla="*/ 282 w 1720"/>
                <a:gd name="T91" fmla="*/ 51 h 1495"/>
                <a:gd name="T92" fmla="*/ 218 w 1720"/>
                <a:gd name="T93" fmla="*/ 18 h 1495"/>
                <a:gd name="T94" fmla="*/ 145 w 1720"/>
                <a:gd name="T95" fmla="*/ 1 h 1495"/>
                <a:gd name="T96" fmla="*/ 65 w 1720"/>
                <a:gd name="T97" fmla="*/ 4 h 1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20" h="1495">
                  <a:moveTo>
                    <a:pt x="0" y="23"/>
                  </a:moveTo>
                  <a:lnTo>
                    <a:pt x="2" y="54"/>
                  </a:lnTo>
                  <a:lnTo>
                    <a:pt x="5" y="82"/>
                  </a:lnTo>
                  <a:lnTo>
                    <a:pt x="9" y="107"/>
                  </a:lnTo>
                  <a:lnTo>
                    <a:pt x="13" y="131"/>
                  </a:lnTo>
                  <a:lnTo>
                    <a:pt x="19" y="152"/>
                  </a:lnTo>
                  <a:lnTo>
                    <a:pt x="24" y="171"/>
                  </a:lnTo>
                  <a:lnTo>
                    <a:pt x="30" y="189"/>
                  </a:lnTo>
                  <a:lnTo>
                    <a:pt x="36" y="206"/>
                  </a:lnTo>
                  <a:lnTo>
                    <a:pt x="48" y="237"/>
                  </a:lnTo>
                  <a:lnTo>
                    <a:pt x="61" y="264"/>
                  </a:lnTo>
                  <a:lnTo>
                    <a:pt x="73" y="290"/>
                  </a:lnTo>
                  <a:lnTo>
                    <a:pt x="83" y="316"/>
                  </a:lnTo>
                  <a:lnTo>
                    <a:pt x="88" y="329"/>
                  </a:lnTo>
                  <a:lnTo>
                    <a:pt x="92" y="344"/>
                  </a:lnTo>
                  <a:lnTo>
                    <a:pt x="96" y="359"/>
                  </a:lnTo>
                  <a:lnTo>
                    <a:pt x="99" y="376"/>
                  </a:lnTo>
                  <a:lnTo>
                    <a:pt x="101" y="393"/>
                  </a:lnTo>
                  <a:lnTo>
                    <a:pt x="102" y="412"/>
                  </a:lnTo>
                  <a:lnTo>
                    <a:pt x="102" y="432"/>
                  </a:lnTo>
                  <a:lnTo>
                    <a:pt x="102" y="455"/>
                  </a:lnTo>
                  <a:lnTo>
                    <a:pt x="100" y="480"/>
                  </a:lnTo>
                  <a:lnTo>
                    <a:pt x="97" y="506"/>
                  </a:lnTo>
                  <a:lnTo>
                    <a:pt x="92" y="535"/>
                  </a:lnTo>
                  <a:lnTo>
                    <a:pt x="87" y="567"/>
                  </a:lnTo>
                  <a:lnTo>
                    <a:pt x="80" y="602"/>
                  </a:lnTo>
                  <a:lnTo>
                    <a:pt x="71" y="639"/>
                  </a:lnTo>
                  <a:lnTo>
                    <a:pt x="61" y="680"/>
                  </a:lnTo>
                  <a:lnTo>
                    <a:pt x="49" y="725"/>
                  </a:lnTo>
                  <a:lnTo>
                    <a:pt x="67" y="723"/>
                  </a:lnTo>
                  <a:lnTo>
                    <a:pt x="83" y="720"/>
                  </a:lnTo>
                  <a:lnTo>
                    <a:pt x="99" y="718"/>
                  </a:lnTo>
                  <a:lnTo>
                    <a:pt x="114" y="715"/>
                  </a:lnTo>
                  <a:lnTo>
                    <a:pt x="126" y="710"/>
                  </a:lnTo>
                  <a:lnTo>
                    <a:pt x="139" y="707"/>
                  </a:lnTo>
                  <a:lnTo>
                    <a:pt x="149" y="701"/>
                  </a:lnTo>
                  <a:lnTo>
                    <a:pt x="159" y="695"/>
                  </a:lnTo>
                  <a:lnTo>
                    <a:pt x="168" y="690"/>
                  </a:lnTo>
                  <a:lnTo>
                    <a:pt x="177" y="683"/>
                  </a:lnTo>
                  <a:lnTo>
                    <a:pt x="185" y="676"/>
                  </a:lnTo>
                  <a:lnTo>
                    <a:pt x="192" y="669"/>
                  </a:lnTo>
                  <a:lnTo>
                    <a:pt x="205" y="654"/>
                  </a:lnTo>
                  <a:lnTo>
                    <a:pt x="217" y="637"/>
                  </a:lnTo>
                  <a:lnTo>
                    <a:pt x="237" y="599"/>
                  </a:lnTo>
                  <a:lnTo>
                    <a:pt x="259" y="559"/>
                  </a:lnTo>
                  <a:lnTo>
                    <a:pt x="272" y="537"/>
                  </a:lnTo>
                  <a:lnTo>
                    <a:pt x="288" y="516"/>
                  </a:lnTo>
                  <a:lnTo>
                    <a:pt x="296" y="504"/>
                  </a:lnTo>
                  <a:lnTo>
                    <a:pt x="305" y="493"/>
                  </a:lnTo>
                  <a:lnTo>
                    <a:pt x="315" y="483"/>
                  </a:lnTo>
                  <a:lnTo>
                    <a:pt x="326" y="472"/>
                  </a:lnTo>
                  <a:lnTo>
                    <a:pt x="345" y="530"/>
                  </a:lnTo>
                  <a:lnTo>
                    <a:pt x="365" y="585"/>
                  </a:lnTo>
                  <a:lnTo>
                    <a:pt x="384" y="632"/>
                  </a:lnTo>
                  <a:lnTo>
                    <a:pt x="402" y="675"/>
                  </a:lnTo>
                  <a:lnTo>
                    <a:pt x="421" y="713"/>
                  </a:lnTo>
                  <a:lnTo>
                    <a:pt x="439" y="746"/>
                  </a:lnTo>
                  <a:lnTo>
                    <a:pt x="457" y="776"/>
                  </a:lnTo>
                  <a:lnTo>
                    <a:pt x="475" y="802"/>
                  </a:lnTo>
                  <a:lnTo>
                    <a:pt x="493" y="823"/>
                  </a:lnTo>
                  <a:lnTo>
                    <a:pt x="513" y="841"/>
                  </a:lnTo>
                  <a:lnTo>
                    <a:pt x="531" y="857"/>
                  </a:lnTo>
                  <a:lnTo>
                    <a:pt x="549" y="869"/>
                  </a:lnTo>
                  <a:lnTo>
                    <a:pt x="568" y="880"/>
                  </a:lnTo>
                  <a:lnTo>
                    <a:pt x="587" y="887"/>
                  </a:lnTo>
                  <a:lnTo>
                    <a:pt x="605" y="893"/>
                  </a:lnTo>
                  <a:lnTo>
                    <a:pt x="626" y="898"/>
                  </a:lnTo>
                  <a:lnTo>
                    <a:pt x="645" y="901"/>
                  </a:lnTo>
                  <a:lnTo>
                    <a:pt x="665" y="903"/>
                  </a:lnTo>
                  <a:lnTo>
                    <a:pt x="685" y="906"/>
                  </a:lnTo>
                  <a:lnTo>
                    <a:pt x="707" y="907"/>
                  </a:lnTo>
                  <a:lnTo>
                    <a:pt x="750" y="909"/>
                  </a:lnTo>
                  <a:lnTo>
                    <a:pt x="796" y="915"/>
                  </a:lnTo>
                  <a:lnTo>
                    <a:pt x="820" y="918"/>
                  </a:lnTo>
                  <a:lnTo>
                    <a:pt x="845" y="924"/>
                  </a:lnTo>
                  <a:lnTo>
                    <a:pt x="870" y="930"/>
                  </a:lnTo>
                  <a:lnTo>
                    <a:pt x="896" y="941"/>
                  </a:lnTo>
                  <a:lnTo>
                    <a:pt x="923" y="952"/>
                  </a:lnTo>
                  <a:lnTo>
                    <a:pt x="951" y="965"/>
                  </a:lnTo>
                  <a:lnTo>
                    <a:pt x="979" y="983"/>
                  </a:lnTo>
                  <a:lnTo>
                    <a:pt x="1009" y="1004"/>
                  </a:lnTo>
                  <a:lnTo>
                    <a:pt x="1023" y="1015"/>
                  </a:lnTo>
                  <a:lnTo>
                    <a:pt x="1038" y="1028"/>
                  </a:lnTo>
                  <a:lnTo>
                    <a:pt x="1054" y="1043"/>
                  </a:lnTo>
                  <a:lnTo>
                    <a:pt x="1070" y="1059"/>
                  </a:lnTo>
                  <a:lnTo>
                    <a:pt x="1104" y="1098"/>
                  </a:lnTo>
                  <a:lnTo>
                    <a:pt x="1140" y="1139"/>
                  </a:lnTo>
                  <a:lnTo>
                    <a:pt x="1178" y="1183"/>
                  </a:lnTo>
                  <a:lnTo>
                    <a:pt x="1219" y="1231"/>
                  </a:lnTo>
                  <a:lnTo>
                    <a:pt x="1262" y="1277"/>
                  </a:lnTo>
                  <a:lnTo>
                    <a:pt x="1306" y="1322"/>
                  </a:lnTo>
                  <a:lnTo>
                    <a:pt x="1329" y="1345"/>
                  </a:lnTo>
                  <a:lnTo>
                    <a:pt x="1352" y="1365"/>
                  </a:lnTo>
                  <a:lnTo>
                    <a:pt x="1376" y="1386"/>
                  </a:lnTo>
                  <a:lnTo>
                    <a:pt x="1401" y="1405"/>
                  </a:lnTo>
                  <a:lnTo>
                    <a:pt x="1426" y="1423"/>
                  </a:lnTo>
                  <a:lnTo>
                    <a:pt x="1450" y="1439"/>
                  </a:lnTo>
                  <a:lnTo>
                    <a:pt x="1475" y="1453"/>
                  </a:lnTo>
                  <a:lnTo>
                    <a:pt x="1501" y="1466"/>
                  </a:lnTo>
                  <a:lnTo>
                    <a:pt x="1527" y="1476"/>
                  </a:lnTo>
                  <a:lnTo>
                    <a:pt x="1554" y="1485"/>
                  </a:lnTo>
                  <a:lnTo>
                    <a:pt x="1581" y="1491"/>
                  </a:lnTo>
                  <a:lnTo>
                    <a:pt x="1609" y="1494"/>
                  </a:lnTo>
                  <a:lnTo>
                    <a:pt x="1636" y="1495"/>
                  </a:lnTo>
                  <a:lnTo>
                    <a:pt x="1664" y="1493"/>
                  </a:lnTo>
                  <a:lnTo>
                    <a:pt x="1692" y="1487"/>
                  </a:lnTo>
                  <a:lnTo>
                    <a:pt x="1720" y="1479"/>
                  </a:lnTo>
                  <a:lnTo>
                    <a:pt x="1709" y="1459"/>
                  </a:lnTo>
                  <a:lnTo>
                    <a:pt x="1698" y="1442"/>
                  </a:lnTo>
                  <a:lnTo>
                    <a:pt x="1687" y="1426"/>
                  </a:lnTo>
                  <a:lnTo>
                    <a:pt x="1675" y="1412"/>
                  </a:lnTo>
                  <a:lnTo>
                    <a:pt x="1664" y="1400"/>
                  </a:lnTo>
                  <a:lnTo>
                    <a:pt x="1653" y="1389"/>
                  </a:lnTo>
                  <a:lnTo>
                    <a:pt x="1641" y="1379"/>
                  </a:lnTo>
                  <a:lnTo>
                    <a:pt x="1630" y="1370"/>
                  </a:lnTo>
                  <a:lnTo>
                    <a:pt x="1605" y="1354"/>
                  </a:lnTo>
                  <a:lnTo>
                    <a:pt x="1579" y="1339"/>
                  </a:lnTo>
                  <a:lnTo>
                    <a:pt x="1551" y="1324"/>
                  </a:lnTo>
                  <a:lnTo>
                    <a:pt x="1520" y="1304"/>
                  </a:lnTo>
                  <a:lnTo>
                    <a:pt x="1503" y="1294"/>
                  </a:lnTo>
                  <a:lnTo>
                    <a:pt x="1487" y="1282"/>
                  </a:lnTo>
                  <a:lnTo>
                    <a:pt x="1468" y="1269"/>
                  </a:lnTo>
                  <a:lnTo>
                    <a:pt x="1449" y="1253"/>
                  </a:lnTo>
                  <a:lnTo>
                    <a:pt x="1429" y="1237"/>
                  </a:lnTo>
                  <a:lnTo>
                    <a:pt x="1407" y="1217"/>
                  </a:lnTo>
                  <a:lnTo>
                    <a:pt x="1385" y="1196"/>
                  </a:lnTo>
                  <a:lnTo>
                    <a:pt x="1362" y="1172"/>
                  </a:lnTo>
                  <a:lnTo>
                    <a:pt x="1337" y="1145"/>
                  </a:lnTo>
                  <a:lnTo>
                    <a:pt x="1311" y="1115"/>
                  </a:lnTo>
                  <a:lnTo>
                    <a:pt x="1284" y="1082"/>
                  </a:lnTo>
                  <a:lnTo>
                    <a:pt x="1255" y="1044"/>
                  </a:lnTo>
                  <a:lnTo>
                    <a:pt x="1226" y="1004"/>
                  </a:lnTo>
                  <a:lnTo>
                    <a:pt x="1194" y="960"/>
                  </a:lnTo>
                  <a:lnTo>
                    <a:pt x="1160" y="911"/>
                  </a:lnTo>
                  <a:lnTo>
                    <a:pt x="1126" y="859"/>
                  </a:lnTo>
                  <a:lnTo>
                    <a:pt x="1099" y="819"/>
                  </a:lnTo>
                  <a:lnTo>
                    <a:pt x="1076" y="788"/>
                  </a:lnTo>
                  <a:lnTo>
                    <a:pt x="1066" y="776"/>
                  </a:lnTo>
                  <a:lnTo>
                    <a:pt x="1055" y="765"/>
                  </a:lnTo>
                  <a:lnTo>
                    <a:pt x="1045" y="756"/>
                  </a:lnTo>
                  <a:lnTo>
                    <a:pt x="1032" y="750"/>
                  </a:lnTo>
                  <a:lnTo>
                    <a:pt x="1020" y="743"/>
                  </a:lnTo>
                  <a:lnTo>
                    <a:pt x="1005" y="738"/>
                  </a:lnTo>
                  <a:lnTo>
                    <a:pt x="989" y="733"/>
                  </a:lnTo>
                  <a:lnTo>
                    <a:pt x="970" y="728"/>
                  </a:lnTo>
                  <a:lnTo>
                    <a:pt x="925" y="720"/>
                  </a:lnTo>
                  <a:lnTo>
                    <a:pt x="866" y="710"/>
                  </a:lnTo>
                  <a:lnTo>
                    <a:pt x="839" y="706"/>
                  </a:lnTo>
                  <a:lnTo>
                    <a:pt x="814" y="700"/>
                  </a:lnTo>
                  <a:lnTo>
                    <a:pt x="792" y="694"/>
                  </a:lnTo>
                  <a:lnTo>
                    <a:pt x="771" y="687"/>
                  </a:lnTo>
                  <a:lnTo>
                    <a:pt x="752" y="681"/>
                  </a:lnTo>
                  <a:lnTo>
                    <a:pt x="734" y="673"/>
                  </a:lnTo>
                  <a:lnTo>
                    <a:pt x="718" y="665"/>
                  </a:lnTo>
                  <a:lnTo>
                    <a:pt x="704" y="657"/>
                  </a:lnTo>
                  <a:lnTo>
                    <a:pt x="690" y="648"/>
                  </a:lnTo>
                  <a:lnTo>
                    <a:pt x="676" y="638"/>
                  </a:lnTo>
                  <a:lnTo>
                    <a:pt x="665" y="628"/>
                  </a:lnTo>
                  <a:lnTo>
                    <a:pt x="655" y="617"/>
                  </a:lnTo>
                  <a:lnTo>
                    <a:pt x="645" y="606"/>
                  </a:lnTo>
                  <a:lnTo>
                    <a:pt x="636" y="594"/>
                  </a:lnTo>
                  <a:lnTo>
                    <a:pt x="628" y="581"/>
                  </a:lnTo>
                  <a:lnTo>
                    <a:pt x="620" y="569"/>
                  </a:lnTo>
                  <a:lnTo>
                    <a:pt x="605" y="542"/>
                  </a:lnTo>
                  <a:lnTo>
                    <a:pt x="592" y="512"/>
                  </a:lnTo>
                  <a:lnTo>
                    <a:pt x="578" y="481"/>
                  </a:lnTo>
                  <a:lnTo>
                    <a:pt x="565" y="446"/>
                  </a:lnTo>
                  <a:lnTo>
                    <a:pt x="549" y="410"/>
                  </a:lnTo>
                  <a:lnTo>
                    <a:pt x="531" y="371"/>
                  </a:lnTo>
                  <a:lnTo>
                    <a:pt x="520" y="352"/>
                  </a:lnTo>
                  <a:lnTo>
                    <a:pt x="509" y="331"/>
                  </a:lnTo>
                  <a:lnTo>
                    <a:pt x="498" y="309"/>
                  </a:lnTo>
                  <a:lnTo>
                    <a:pt x="484" y="288"/>
                  </a:lnTo>
                  <a:lnTo>
                    <a:pt x="466" y="258"/>
                  </a:lnTo>
                  <a:lnTo>
                    <a:pt x="446" y="228"/>
                  </a:lnTo>
                  <a:lnTo>
                    <a:pt x="426" y="197"/>
                  </a:lnTo>
                  <a:lnTo>
                    <a:pt x="403" y="168"/>
                  </a:lnTo>
                  <a:lnTo>
                    <a:pt x="379" y="138"/>
                  </a:lnTo>
                  <a:lnTo>
                    <a:pt x="353" y="111"/>
                  </a:lnTo>
                  <a:lnTo>
                    <a:pt x="340" y="98"/>
                  </a:lnTo>
                  <a:lnTo>
                    <a:pt x="326" y="85"/>
                  </a:lnTo>
                  <a:lnTo>
                    <a:pt x="311" y="73"/>
                  </a:lnTo>
                  <a:lnTo>
                    <a:pt x="298" y="62"/>
                  </a:lnTo>
                  <a:lnTo>
                    <a:pt x="282" y="51"/>
                  </a:lnTo>
                  <a:lnTo>
                    <a:pt x="267" y="41"/>
                  </a:lnTo>
                  <a:lnTo>
                    <a:pt x="250" y="32"/>
                  </a:lnTo>
                  <a:lnTo>
                    <a:pt x="235" y="24"/>
                  </a:lnTo>
                  <a:lnTo>
                    <a:pt x="218" y="18"/>
                  </a:lnTo>
                  <a:lnTo>
                    <a:pt x="201" y="12"/>
                  </a:lnTo>
                  <a:lnTo>
                    <a:pt x="183" y="6"/>
                  </a:lnTo>
                  <a:lnTo>
                    <a:pt x="165" y="3"/>
                  </a:lnTo>
                  <a:lnTo>
                    <a:pt x="145" y="1"/>
                  </a:lnTo>
                  <a:lnTo>
                    <a:pt x="126" y="0"/>
                  </a:lnTo>
                  <a:lnTo>
                    <a:pt x="107" y="0"/>
                  </a:lnTo>
                  <a:lnTo>
                    <a:pt x="87" y="2"/>
                  </a:lnTo>
                  <a:lnTo>
                    <a:pt x="65" y="4"/>
                  </a:lnTo>
                  <a:lnTo>
                    <a:pt x="44" y="9"/>
                  </a:lnTo>
                  <a:lnTo>
                    <a:pt x="22" y="15"/>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prstClr val="black"/>
                </a:solidFill>
                <a:latin typeface="Calibri"/>
              </a:endParaRPr>
            </a:p>
          </p:txBody>
        </p:sp>
        <p:sp>
          <p:nvSpPr>
            <p:cNvPr id="15" name="Freeform 13"/>
            <p:cNvSpPr>
              <a:spLocks/>
            </p:cNvSpPr>
            <p:nvPr/>
          </p:nvSpPr>
          <p:spPr bwMode="auto">
            <a:xfrm>
              <a:off x="1954213" y="3165475"/>
              <a:ext cx="906463" cy="792163"/>
            </a:xfrm>
            <a:custGeom>
              <a:avLst/>
              <a:gdLst>
                <a:gd name="T0" fmla="*/ 72 w 1712"/>
                <a:gd name="T1" fmla="*/ 1493 h 1495"/>
                <a:gd name="T2" fmla="*/ 173 w 1712"/>
                <a:gd name="T3" fmla="*/ 1482 h 1495"/>
                <a:gd name="T4" fmla="*/ 276 w 1712"/>
                <a:gd name="T5" fmla="*/ 1430 h 1495"/>
                <a:gd name="T6" fmla="*/ 375 w 1712"/>
                <a:gd name="T7" fmla="*/ 1352 h 1495"/>
                <a:gd name="T8" fmla="*/ 470 w 1712"/>
                <a:gd name="T9" fmla="*/ 1259 h 1495"/>
                <a:gd name="T10" fmla="*/ 612 w 1712"/>
                <a:gd name="T11" fmla="*/ 1100 h 1495"/>
                <a:gd name="T12" fmla="*/ 687 w 1712"/>
                <a:gd name="T13" fmla="*/ 1021 h 1495"/>
                <a:gd name="T14" fmla="*/ 743 w 1712"/>
                <a:gd name="T15" fmla="*/ 982 h 1495"/>
                <a:gd name="T16" fmla="*/ 804 w 1712"/>
                <a:gd name="T17" fmla="*/ 956 h 1495"/>
                <a:gd name="T18" fmla="*/ 914 w 1712"/>
                <a:gd name="T19" fmla="*/ 935 h 1495"/>
                <a:gd name="T20" fmla="*/ 1035 w 1712"/>
                <a:gd name="T21" fmla="*/ 923 h 1495"/>
                <a:gd name="T22" fmla="*/ 1104 w 1712"/>
                <a:gd name="T23" fmla="*/ 906 h 1495"/>
                <a:gd name="T24" fmla="*/ 1155 w 1712"/>
                <a:gd name="T25" fmla="*/ 881 h 1495"/>
                <a:gd name="T26" fmla="*/ 1195 w 1712"/>
                <a:gd name="T27" fmla="*/ 847 h 1495"/>
                <a:gd name="T28" fmla="*/ 1253 w 1712"/>
                <a:gd name="T29" fmla="*/ 769 h 1495"/>
                <a:gd name="T30" fmla="*/ 1324 w 1712"/>
                <a:gd name="T31" fmla="*/ 631 h 1495"/>
                <a:gd name="T32" fmla="*/ 1391 w 1712"/>
                <a:gd name="T33" fmla="*/ 503 h 1495"/>
                <a:gd name="T34" fmla="*/ 1450 w 1712"/>
                <a:gd name="T35" fmla="*/ 547 h 1495"/>
                <a:gd name="T36" fmla="*/ 1513 w 1712"/>
                <a:gd name="T37" fmla="*/ 654 h 1495"/>
                <a:gd name="T38" fmla="*/ 1549 w 1712"/>
                <a:gd name="T39" fmla="*/ 688 h 1495"/>
                <a:gd name="T40" fmla="*/ 1591 w 1712"/>
                <a:gd name="T41" fmla="*/ 709 h 1495"/>
                <a:gd name="T42" fmla="*/ 1647 w 1712"/>
                <a:gd name="T43" fmla="*/ 726 h 1495"/>
                <a:gd name="T44" fmla="*/ 1629 w 1712"/>
                <a:gd name="T45" fmla="*/ 602 h 1495"/>
                <a:gd name="T46" fmla="*/ 1608 w 1712"/>
                <a:gd name="T47" fmla="*/ 497 h 1495"/>
                <a:gd name="T48" fmla="*/ 1608 w 1712"/>
                <a:gd name="T49" fmla="*/ 403 h 1495"/>
                <a:gd name="T50" fmla="*/ 1628 w 1712"/>
                <a:gd name="T51" fmla="*/ 310 h 1495"/>
                <a:gd name="T52" fmla="*/ 1676 w 1712"/>
                <a:gd name="T53" fmla="*/ 194 h 1495"/>
                <a:gd name="T54" fmla="*/ 1702 w 1712"/>
                <a:gd name="T55" fmla="*/ 111 h 1495"/>
                <a:gd name="T56" fmla="*/ 1692 w 1712"/>
                <a:gd name="T57" fmla="*/ 26 h 1495"/>
                <a:gd name="T58" fmla="*/ 1616 w 1712"/>
                <a:gd name="T59" fmla="*/ 2 h 1495"/>
                <a:gd name="T60" fmla="*/ 1544 w 1712"/>
                <a:gd name="T61" fmla="*/ 4 h 1495"/>
                <a:gd name="T62" fmla="*/ 1479 w 1712"/>
                <a:gd name="T63" fmla="*/ 28 h 1495"/>
                <a:gd name="T64" fmla="*/ 1419 w 1712"/>
                <a:gd name="T65" fmla="*/ 66 h 1495"/>
                <a:gd name="T66" fmla="*/ 1351 w 1712"/>
                <a:gd name="T67" fmla="*/ 129 h 1495"/>
                <a:gd name="T68" fmla="*/ 1264 w 1712"/>
                <a:gd name="T69" fmla="*/ 240 h 1495"/>
                <a:gd name="T70" fmla="*/ 1211 w 1712"/>
                <a:gd name="T71" fmla="*/ 324 h 1495"/>
                <a:gd name="T72" fmla="*/ 1151 w 1712"/>
                <a:gd name="T73" fmla="*/ 451 h 1495"/>
                <a:gd name="T74" fmla="*/ 1100 w 1712"/>
                <a:gd name="T75" fmla="*/ 562 h 1495"/>
                <a:gd name="T76" fmla="*/ 1062 w 1712"/>
                <a:gd name="T77" fmla="*/ 615 h 1495"/>
                <a:gd name="T78" fmla="*/ 1011 w 1712"/>
                <a:gd name="T79" fmla="*/ 658 h 1495"/>
                <a:gd name="T80" fmla="*/ 940 w 1712"/>
                <a:gd name="T81" fmla="*/ 691 h 1495"/>
                <a:gd name="T82" fmla="*/ 842 w 1712"/>
                <a:gd name="T83" fmla="*/ 712 h 1495"/>
                <a:gd name="T84" fmla="*/ 750 w 1712"/>
                <a:gd name="T85" fmla="*/ 736 h 1495"/>
                <a:gd name="T86" fmla="*/ 680 w 1712"/>
                <a:gd name="T87" fmla="*/ 767 h 1495"/>
                <a:gd name="T88" fmla="*/ 628 w 1712"/>
                <a:gd name="T89" fmla="*/ 805 h 1495"/>
                <a:gd name="T90" fmla="*/ 578 w 1712"/>
                <a:gd name="T91" fmla="*/ 862 h 1495"/>
                <a:gd name="T92" fmla="*/ 508 w 1712"/>
                <a:gd name="T93" fmla="*/ 977 h 1495"/>
                <a:gd name="T94" fmla="*/ 417 w 1712"/>
                <a:gd name="T95" fmla="*/ 1113 h 1495"/>
                <a:gd name="T96" fmla="*/ 325 w 1712"/>
                <a:gd name="T97" fmla="*/ 1207 h 1495"/>
                <a:gd name="T98" fmla="*/ 211 w 1712"/>
                <a:gd name="T99" fmla="*/ 1289 h 1495"/>
                <a:gd name="T100" fmla="*/ 81 w 1712"/>
                <a:gd name="T101" fmla="*/ 1385 h 1495"/>
                <a:gd name="T102" fmla="*/ 17 w 1712"/>
                <a:gd name="T103" fmla="*/ 1444 h 1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12" h="1495">
                  <a:moveTo>
                    <a:pt x="0" y="1468"/>
                  </a:moveTo>
                  <a:lnTo>
                    <a:pt x="24" y="1481"/>
                  </a:lnTo>
                  <a:lnTo>
                    <a:pt x="49" y="1488"/>
                  </a:lnTo>
                  <a:lnTo>
                    <a:pt x="72" y="1493"/>
                  </a:lnTo>
                  <a:lnTo>
                    <a:pt x="97" y="1495"/>
                  </a:lnTo>
                  <a:lnTo>
                    <a:pt x="123" y="1493"/>
                  </a:lnTo>
                  <a:lnTo>
                    <a:pt x="148" y="1488"/>
                  </a:lnTo>
                  <a:lnTo>
                    <a:pt x="173" y="1482"/>
                  </a:lnTo>
                  <a:lnTo>
                    <a:pt x="199" y="1473"/>
                  </a:lnTo>
                  <a:lnTo>
                    <a:pt x="225" y="1460"/>
                  </a:lnTo>
                  <a:lnTo>
                    <a:pt x="250" y="1447"/>
                  </a:lnTo>
                  <a:lnTo>
                    <a:pt x="276" y="1430"/>
                  </a:lnTo>
                  <a:lnTo>
                    <a:pt x="300" y="1413"/>
                  </a:lnTo>
                  <a:lnTo>
                    <a:pt x="325" y="1394"/>
                  </a:lnTo>
                  <a:lnTo>
                    <a:pt x="351" y="1373"/>
                  </a:lnTo>
                  <a:lnTo>
                    <a:pt x="375" y="1352"/>
                  </a:lnTo>
                  <a:lnTo>
                    <a:pt x="400" y="1329"/>
                  </a:lnTo>
                  <a:lnTo>
                    <a:pt x="424" y="1307"/>
                  </a:lnTo>
                  <a:lnTo>
                    <a:pt x="447" y="1283"/>
                  </a:lnTo>
                  <a:lnTo>
                    <a:pt x="470" y="1259"/>
                  </a:lnTo>
                  <a:lnTo>
                    <a:pt x="493" y="1234"/>
                  </a:lnTo>
                  <a:lnTo>
                    <a:pt x="535" y="1187"/>
                  </a:lnTo>
                  <a:lnTo>
                    <a:pt x="575" y="1142"/>
                  </a:lnTo>
                  <a:lnTo>
                    <a:pt x="612" y="1100"/>
                  </a:lnTo>
                  <a:lnTo>
                    <a:pt x="645" y="1063"/>
                  </a:lnTo>
                  <a:lnTo>
                    <a:pt x="660" y="1047"/>
                  </a:lnTo>
                  <a:lnTo>
                    <a:pt x="674" y="1033"/>
                  </a:lnTo>
                  <a:lnTo>
                    <a:pt x="687" y="1021"/>
                  </a:lnTo>
                  <a:lnTo>
                    <a:pt x="698" y="1012"/>
                  </a:lnTo>
                  <a:lnTo>
                    <a:pt x="713" y="1000"/>
                  </a:lnTo>
                  <a:lnTo>
                    <a:pt x="729" y="990"/>
                  </a:lnTo>
                  <a:lnTo>
                    <a:pt x="743" y="982"/>
                  </a:lnTo>
                  <a:lnTo>
                    <a:pt x="758" y="974"/>
                  </a:lnTo>
                  <a:lnTo>
                    <a:pt x="774" y="968"/>
                  </a:lnTo>
                  <a:lnTo>
                    <a:pt x="790" y="962"/>
                  </a:lnTo>
                  <a:lnTo>
                    <a:pt x="804" y="956"/>
                  </a:lnTo>
                  <a:lnTo>
                    <a:pt x="820" y="952"/>
                  </a:lnTo>
                  <a:lnTo>
                    <a:pt x="852" y="945"/>
                  </a:lnTo>
                  <a:lnTo>
                    <a:pt x="882" y="939"/>
                  </a:lnTo>
                  <a:lnTo>
                    <a:pt x="914" y="935"/>
                  </a:lnTo>
                  <a:lnTo>
                    <a:pt x="945" y="933"/>
                  </a:lnTo>
                  <a:lnTo>
                    <a:pt x="975" y="929"/>
                  </a:lnTo>
                  <a:lnTo>
                    <a:pt x="1006" y="926"/>
                  </a:lnTo>
                  <a:lnTo>
                    <a:pt x="1035" y="923"/>
                  </a:lnTo>
                  <a:lnTo>
                    <a:pt x="1063" y="918"/>
                  </a:lnTo>
                  <a:lnTo>
                    <a:pt x="1077" y="915"/>
                  </a:lnTo>
                  <a:lnTo>
                    <a:pt x="1090" y="910"/>
                  </a:lnTo>
                  <a:lnTo>
                    <a:pt x="1104" y="906"/>
                  </a:lnTo>
                  <a:lnTo>
                    <a:pt x="1117" y="901"/>
                  </a:lnTo>
                  <a:lnTo>
                    <a:pt x="1130" y="895"/>
                  </a:lnTo>
                  <a:lnTo>
                    <a:pt x="1143" y="889"/>
                  </a:lnTo>
                  <a:lnTo>
                    <a:pt x="1155" y="881"/>
                  </a:lnTo>
                  <a:lnTo>
                    <a:pt x="1167" y="873"/>
                  </a:lnTo>
                  <a:lnTo>
                    <a:pt x="1176" y="865"/>
                  </a:lnTo>
                  <a:lnTo>
                    <a:pt x="1186" y="856"/>
                  </a:lnTo>
                  <a:lnTo>
                    <a:pt x="1195" y="847"/>
                  </a:lnTo>
                  <a:lnTo>
                    <a:pt x="1204" y="838"/>
                  </a:lnTo>
                  <a:lnTo>
                    <a:pt x="1221" y="816"/>
                  </a:lnTo>
                  <a:lnTo>
                    <a:pt x="1237" y="793"/>
                  </a:lnTo>
                  <a:lnTo>
                    <a:pt x="1253" y="769"/>
                  </a:lnTo>
                  <a:lnTo>
                    <a:pt x="1269" y="742"/>
                  </a:lnTo>
                  <a:lnTo>
                    <a:pt x="1283" y="716"/>
                  </a:lnTo>
                  <a:lnTo>
                    <a:pt x="1297" y="688"/>
                  </a:lnTo>
                  <a:lnTo>
                    <a:pt x="1324" y="631"/>
                  </a:lnTo>
                  <a:lnTo>
                    <a:pt x="1351" y="577"/>
                  </a:lnTo>
                  <a:lnTo>
                    <a:pt x="1365" y="551"/>
                  </a:lnTo>
                  <a:lnTo>
                    <a:pt x="1377" y="526"/>
                  </a:lnTo>
                  <a:lnTo>
                    <a:pt x="1391" y="503"/>
                  </a:lnTo>
                  <a:lnTo>
                    <a:pt x="1404" y="482"/>
                  </a:lnTo>
                  <a:lnTo>
                    <a:pt x="1422" y="505"/>
                  </a:lnTo>
                  <a:lnTo>
                    <a:pt x="1437" y="527"/>
                  </a:lnTo>
                  <a:lnTo>
                    <a:pt x="1450" y="547"/>
                  </a:lnTo>
                  <a:lnTo>
                    <a:pt x="1461" y="568"/>
                  </a:lnTo>
                  <a:lnTo>
                    <a:pt x="1481" y="605"/>
                  </a:lnTo>
                  <a:lnTo>
                    <a:pt x="1502" y="639"/>
                  </a:lnTo>
                  <a:lnTo>
                    <a:pt x="1513" y="654"/>
                  </a:lnTo>
                  <a:lnTo>
                    <a:pt x="1526" y="668"/>
                  </a:lnTo>
                  <a:lnTo>
                    <a:pt x="1533" y="675"/>
                  </a:lnTo>
                  <a:lnTo>
                    <a:pt x="1541" y="681"/>
                  </a:lnTo>
                  <a:lnTo>
                    <a:pt x="1549" y="688"/>
                  </a:lnTo>
                  <a:lnTo>
                    <a:pt x="1559" y="693"/>
                  </a:lnTo>
                  <a:lnTo>
                    <a:pt x="1568" y="699"/>
                  </a:lnTo>
                  <a:lnTo>
                    <a:pt x="1579" y="704"/>
                  </a:lnTo>
                  <a:lnTo>
                    <a:pt x="1591" y="709"/>
                  </a:lnTo>
                  <a:lnTo>
                    <a:pt x="1603" y="714"/>
                  </a:lnTo>
                  <a:lnTo>
                    <a:pt x="1617" y="718"/>
                  </a:lnTo>
                  <a:lnTo>
                    <a:pt x="1631" y="723"/>
                  </a:lnTo>
                  <a:lnTo>
                    <a:pt x="1647" y="726"/>
                  </a:lnTo>
                  <a:lnTo>
                    <a:pt x="1664" y="729"/>
                  </a:lnTo>
                  <a:lnTo>
                    <a:pt x="1653" y="685"/>
                  </a:lnTo>
                  <a:lnTo>
                    <a:pt x="1641" y="643"/>
                  </a:lnTo>
                  <a:lnTo>
                    <a:pt x="1629" y="602"/>
                  </a:lnTo>
                  <a:lnTo>
                    <a:pt x="1619" y="560"/>
                  </a:lnTo>
                  <a:lnTo>
                    <a:pt x="1615" y="540"/>
                  </a:lnTo>
                  <a:lnTo>
                    <a:pt x="1611" y="518"/>
                  </a:lnTo>
                  <a:lnTo>
                    <a:pt x="1608" y="497"/>
                  </a:lnTo>
                  <a:lnTo>
                    <a:pt x="1605" y="474"/>
                  </a:lnTo>
                  <a:lnTo>
                    <a:pt x="1605" y="451"/>
                  </a:lnTo>
                  <a:lnTo>
                    <a:pt x="1605" y="428"/>
                  </a:lnTo>
                  <a:lnTo>
                    <a:pt x="1608" y="403"/>
                  </a:lnTo>
                  <a:lnTo>
                    <a:pt x="1611" y="378"/>
                  </a:lnTo>
                  <a:lnTo>
                    <a:pt x="1617" y="354"/>
                  </a:lnTo>
                  <a:lnTo>
                    <a:pt x="1622" y="332"/>
                  </a:lnTo>
                  <a:lnTo>
                    <a:pt x="1628" y="310"/>
                  </a:lnTo>
                  <a:lnTo>
                    <a:pt x="1636" y="290"/>
                  </a:lnTo>
                  <a:lnTo>
                    <a:pt x="1652" y="250"/>
                  </a:lnTo>
                  <a:lnTo>
                    <a:pt x="1668" y="213"/>
                  </a:lnTo>
                  <a:lnTo>
                    <a:pt x="1676" y="194"/>
                  </a:lnTo>
                  <a:lnTo>
                    <a:pt x="1683" y="175"/>
                  </a:lnTo>
                  <a:lnTo>
                    <a:pt x="1690" y="154"/>
                  </a:lnTo>
                  <a:lnTo>
                    <a:pt x="1697" y="134"/>
                  </a:lnTo>
                  <a:lnTo>
                    <a:pt x="1702" y="111"/>
                  </a:lnTo>
                  <a:lnTo>
                    <a:pt x="1706" y="88"/>
                  </a:lnTo>
                  <a:lnTo>
                    <a:pt x="1709" y="63"/>
                  </a:lnTo>
                  <a:lnTo>
                    <a:pt x="1712" y="36"/>
                  </a:lnTo>
                  <a:lnTo>
                    <a:pt x="1692" y="26"/>
                  </a:lnTo>
                  <a:lnTo>
                    <a:pt x="1672" y="17"/>
                  </a:lnTo>
                  <a:lnTo>
                    <a:pt x="1653" y="10"/>
                  </a:lnTo>
                  <a:lnTo>
                    <a:pt x="1635" y="5"/>
                  </a:lnTo>
                  <a:lnTo>
                    <a:pt x="1616" y="2"/>
                  </a:lnTo>
                  <a:lnTo>
                    <a:pt x="1598" y="0"/>
                  </a:lnTo>
                  <a:lnTo>
                    <a:pt x="1579" y="0"/>
                  </a:lnTo>
                  <a:lnTo>
                    <a:pt x="1563" y="1"/>
                  </a:lnTo>
                  <a:lnTo>
                    <a:pt x="1544" y="4"/>
                  </a:lnTo>
                  <a:lnTo>
                    <a:pt x="1528" y="7"/>
                  </a:lnTo>
                  <a:lnTo>
                    <a:pt x="1512" y="13"/>
                  </a:lnTo>
                  <a:lnTo>
                    <a:pt x="1495" y="20"/>
                  </a:lnTo>
                  <a:lnTo>
                    <a:pt x="1479" y="28"/>
                  </a:lnTo>
                  <a:lnTo>
                    <a:pt x="1463" y="36"/>
                  </a:lnTo>
                  <a:lnTo>
                    <a:pt x="1448" y="45"/>
                  </a:lnTo>
                  <a:lnTo>
                    <a:pt x="1434" y="55"/>
                  </a:lnTo>
                  <a:lnTo>
                    <a:pt x="1419" y="66"/>
                  </a:lnTo>
                  <a:lnTo>
                    <a:pt x="1404" y="79"/>
                  </a:lnTo>
                  <a:lnTo>
                    <a:pt x="1391" y="90"/>
                  </a:lnTo>
                  <a:lnTo>
                    <a:pt x="1377" y="103"/>
                  </a:lnTo>
                  <a:lnTo>
                    <a:pt x="1351" y="129"/>
                  </a:lnTo>
                  <a:lnTo>
                    <a:pt x="1328" y="158"/>
                  </a:lnTo>
                  <a:lnTo>
                    <a:pt x="1305" y="185"/>
                  </a:lnTo>
                  <a:lnTo>
                    <a:pt x="1283" y="213"/>
                  </a:lnTo>
                  <a:lnTo>
                    <a:pt x="1264" y="240"/>
                  </a:lnTo>
                  <a:lnTo>
                    <a:pt x="1247" y="265"/>
                  </a:lnTo>
                  <a:lnTo>
                    <a:pt x="1234" y="284"/>
                  </a:lnTo>
                  <a:lnTo>
                    <a:pt x="1222" y="305"/>
                  </a:lnTo>
                  <a:lnTo>
                    <a:pt x="1211" y="324"/>
                  </a:lnTo>
                  <a:lnTo>
                    <a:pt x="1201" y="343"/>
                  </a:lnTo>
                  <a:lnTo>
                    <a:pt x="1182" y="380"/>
                  </a:lnTo>
                  <a:lnTo>
                    <a:pt x="1166" y="416"/>
                  </a:lnTo>
                  <a:lnTo>
                    <a:pt x="1151" y="451"/>
                  </a:lnTo>
                  <a:lnTo>
                    <a:pt x="1138" y="485"/>
                  </a:lnTo>
                  <a:lnTo>
                    <a:pt x="1123" y="518"/>
                  </a:lnTo>
                  <a:lnTo>
                    <a:pt x="1108" y="547"/>
                  </a:lnTo>
                  <a:lnTo>
                    <a:pt x="1100" y="562"/>
                  </a:lnTo>
                  <a:lnTo>
                    <a:pt x="1091" y="576"/>
                  </a:lnTo>
                  <a:lnTo>
                    <a:pt x="1082" y="589"/>
                  </a:lnTo>
                  <a:lnTo>
                    <a:pt x="1073" y="603"/>
                  </a:lnTo>
                  <a:lnTo>
                    <a:pt x="1062" y="615"/>
                  </a:lnTo>
                  <a:lnTo>
                    <a:pt x="1051" y="627"/>
                  </a:lnTo>
                  <a:lnTo>
                    <a:pt x="1039" y="638"/>
                  </a:lnTo>
                  <a:lnTo>
                    <a:pt x="1026" y="648"/>
                  </a:lnTo>
                  <a:lnTo>
                    <a:pt x="1011" y="658"/>
                  </a:lnTo>
                  <a:lnTo>
                    <a:pt x="995" y="667"/>
                  </a:lnTo>
                  <a:lnTo>
                    <a:pt x="978" y="675"/>
                  </a:lnTo>
                  <a:lnTo>
                    <a:pt x="959" y="683"/>
                  </a:lnTo>
                  <a:lnTo>
                    <a:pt x="940" y="691"/>
                  </a:lnTo>
                  <a:lnTo>
                    <a:pt x="917" y="697"/>
                  </a:lnTo>
                  <a:lnTo>
                    <a:pt x="895" y="702"/>
                  </a:lnTo>
                  <a:lnTo>
                    <a:pt x="869" y="707"/>
                  </a:lnTo>
                  <a:lnTo>
                    <a:pt x="842" y="712"/>
                  </a:lnTo>
                  <a:lnTo>
                    <a:pt x="817" y="717"/>
                  </a:lnTo>
                  <a:lnTo>
                    <a:pt x="793" y="724"/>
                  </a:lnTo>
                  <a:lnTo>
                    <a:pt x="771" y="729"/>
                  </a:lnTo>
                  <a:lnTo>
                    <a:pt x="750" y="736"/>
                  </a:lnTo>
                  <a:lnTo>
                    <a:pt x="731" y="743"/>
                  </a:lnTo>
                  <a:lnTo>
                    <a:pt x="713" y="751"/>
                  </a:lnTo>
                  <a:lnTo>
                    <a:pt x="696" y="759"/>
                  </a:lnTo>
                  <a:lnTo>
                    <a:pt x="680" y="767"/>
                  </a:lnTo>
                  <a:lnTo>
                    <a:pt x="667" y="776"/>
                  </a:lnTo>
                  <a:lnTo>
                    <a:pt x="653" y="785"/>
                  </a:lnTo>
                  <a:lnTo>
                    <a:pt x="641" y="795"/>
                  </a:lnTo>
                  <a:lnTo>
                    <a:pt x="628" y="805"/>
                  </a:lnTo>
                  <a:lnTo>
                    <a:pt x="617" y="815"/>
                  </a:lnTo>
                  <a:lnTo>
                    <a:pt x="607" y="826"/>
                  </a:lnTo>
                  <a:lnTo>
                    <a:pt x="597" y="838"/>
                  </a:lnTo>
                  <a:lnTo>
                    <a:pt x="578" y="862"/>
                  </a:lnTo>
                  <a:lnTo>
                    <a:pt x="560" y="889"/>
                  </a:lnTo>
                  <a:lnTo>
                    <a:pt x="543" y="916"/>
                  </a:lnTo>
                  <a:lnTo>
                    <a:pt x="526" y="945"/>
                  </a:lnTo>
                  <a:lnTo>
                    <a:pt x="508" y="977"/>
                  </a:lnTo>
                  <a:lnTo>
                    <a:pt x="488" y="1011"/>
                  </a:lnTo>
                  <a:lnTo>
                    <a:pt x="465" y="1046"/>
                  </a:lnTo>
                  <a:lnTo>
                    <a:pt x="439" y="1083"/>
                  </a:lnTo>
                  <a:lnTo>
                    <a:pt x="417" y="1113"/>
                  </a:lnTo>
                  <a:lnTo>
                    <a:pt x="393" y="1142"/>
                  </a:lnTo>
                  <a:lnTo>
                    <a:pt x="371" y="1165"/>
                  </a:lnTo>
                  <a:lnTo>
                    <a:pt x="348" y="1188"/>
                  </a:lnTo>
                  <a:lnTo>
                    <a:pt x="325" y="1207"/>
                  </a:lnTo>
                  <a:lnTo>
                    <a:pt x="303" y="1225"/>
                  </a:lnTo>
                  <a:lnTo>
                    <a:pt x="280" y="1241"/>
                  </a:lnTo>
                  <a:lnTo>
                    <a:pt x="258" y="1257"/>
                  </a:lnTo>
                  <a:lnTo>
                    <a:pt x="211" y="1289"/>
                  </a:lnTo>
                  <a:lnTo>
                    <a:pt x="161" y="1322"/>
                  </a:lnTo>
                  <a:lnTo>
                    <a:pt x="136" y="1341"/>
                  </a:lnTo>
                  <a:lnTo>
                    <a:pt x="110" y="1362"/>
                  </a:lnTo>
                  <a:lnTo>
                    <a:pt x="81" y="1385"/>
                  </a:lnTo>
                  <a:lnTo>
                    <a:pt x="53" y="1412"/>
                  </a:lnTo>
                  <a:lnTo>
                    <a:pt x="29" y="1432"/>
                  </a:lnTo>
                  <a:lnTo>
                    <a:pt x="23" y="1438"/>
                  </a:lnTo>
                  <a:lnTo>
                    <a:pt x="17" y="1444"/>
                  </a:lnTo>
                  <a:lnTo>
                    <a:pt x="0" y="14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prstClr val="black"/>
                </a:solidFill>
                <a:latin typeface="Calibri"/>
              </a:endParaRPr>
            </a:p>
          </p:txBody>
        </p:sp>
        <p:sp>
          <p:nvSpPr>
            <p:cNvPr id="16" name="Freeform 14"/>
            <p:cNvSpPr>
              <a:spLocks/>
            </p:cNvSpPr>
            <p:nvPr/>
          </p:nvSpPr>
          <p:spPr bwMode="auto">
            <a:xfrm>
              <a:off x="6284047" y="2756177"/>
              <a:ext cx="754063" cy="781050"/>
            </a:xfrm>
            <a:custGeom>
              <a:avLst/>
              <a:gdLst>
                <a:gd name="T0" fmla="*/ 1422 w 1427"/>
                <a:gd name="T1" fmla="*/ 1451 h 1476"/>
                <a:gd name="T2" fmla="*/ 1406 w 1427"/>
                <a:gd name="T3" fmla="*/ 1399 h 1476"/>
                <a:gd name="T4" fmla="*/ 1385 w 1427"/>
                <a:gd name="T5" fmla="*/ 1344 h 1476"/>
                <a:gd name="T6" fmla="*/ 1358 w 1427"/>
                <a:gd name="T7" fmla="*/ 1287 h 1476"/>
                <a:gd name="T8" fmla="*/ 1327 w 1427"/>
                <a:gd name="T9" fmla="*/ 1230 h 1476"/>
                <a:gd name="T10" fmla="*/ 1292 w 1427"/>
                <a:gd name="T11" fmla="*/ 1172 h 1476"/>
                <a:gd name="T12" fmla="*/ 1235 w 1427"/>
                <a:gd name="T13" fmla="*/ 1084 h 1476"/>
                <a:gd name="T14" fmla="*/ 1152 w 1427"/>
                <a:gd name="T15" fmla="*/ 971 h 1476"/>
                <a:gd name="T16" fmla="*/ 1070 w 1427"/>
                <a:gd name="T17" fmla="*/ 867 h 1476"/>
                <a:gd name="T18" fmla="*/ 992 w 1427"/>
                <a:gd name="T19" fmla="*/ 777 h 1476"/>
                <a:gd name="T20" fmla="*/ 926 w 1427"/>
                <a:gd name="T21" fmla="*/ 703 h 1476"/>
                <a:gd name="T22" fmla="*/ 860 w 1427"/>
                <a:gd name="T23" fmla="*/ 637 h 1476"/>
                <a:gd name="T24" fmla="*/ 779 w 1427"/>
                <a:gd name="T25" fmla="*/ 560 h 1476"/>
                <a:gd name="T26" fmla="*/ 696 w 1427"/>
                <a:gd name="T27" fmla="*/ 486 h 1476"/>
                <a:gd name="T28" fmla="*/ 608 w 1427"/>
                <a:gd name="T29" fmla="*/ 415 h 1476"/>
                <a:gd name="T30" fmla="*/ 540 w 1427"/>
                <a:gd name="T31" fmla="*/ 362 h 1476"/>
                <a:gd name="T32" fmla="*/ 499 w 1427"/>
                <a:gd name="T33" fmla="*/ 324 h 1476"/>
                <a:gd name="T34" fmla="*/ 462 w 1427"/>
                <a:gd name="T35" fmla="*/ 281 h 1476"/>
                <a:gd name="T36" fmla="*/ 427 w 1427"/>
                <a:gd name="T37" fmla="*/ 235 h 1476"/>
                <a:gd name="T38" fmla="*/ 379 w 1427"/>
                <a:gd name="T39" fmla="*/ 160 h 1476"/>
                <a:gd name="T40" fmla="*/ 321 w 1427"/>
                <a:gd name="T41" fmla="*/ 54 h 1476"/>
                <a:gd name="T42" fmla="*/ 258 w 1427"/>
                <a:gd name="T43" fmla="*/ 2 h 1476"/>
                <a:gd name="T44" fmla="*/ 208 w 1427"/>
                <a:gd name="T45" fmla="*/ 9 h 1476"/>
                <a:gd name="T46" fmla="*/ 179 w 1427"/>
                <a:gd name="T47" fmla="*/ 16 h 1476"/>
                <a:gd name="T48" fmla="*/ 165 w 1427"/>
                <a:gd name="T49" fmla="*/ 23 h 1476"/>
                <a:gd name="T50" fmla="*/ 153 w 1427"/>
                <a:gd name="T51" fmla="*/ 31 h 1476"/>
                <a:gd name="T52" fmla="*/ 143 w 1427"/>
                <a:gd name="T53" fmla="*/ 40 h 1476"/>
                <a:gd name="T54" fmla="*/ 132 w 1427"/>
                <a:gd name="T55" fmla="*/ 57 h 1476"/>
                <a:gd name="T56" fmla="*/ 120 w 1427"/>
                <a:gd name="T57" fmla="*/ 85 h 1476"/>
                <a:gd name="T58" fmla="*/ 107 w 1427"/>
                <a:gd name="T59" fmla="*/ 122 h 1476"/>
                <a:gd name="T60" fmla="*/ 89 w 1427"/>
                <a:gd name="T61" fmla="*/ 167 h 1476"/>
                <a:gd name="T62" fmla="*/ 59 w 1427"/>
                <a:gd name="T63" fmla="*/ 225 h 1476"/>
                <a:gd name="T64" fmla="*/ 30 w 1427"/>
                <a:gd name="T65" fmla="*/ 272 h 1476"/>
                <a:gd name="T66" fmla="*/ 14 w 1427"/>
                <a:gd name="T67" fmla="*/ 301 h 1476"/>
                <a:gd name="T68" fmla="*/ 3 w 1427"/>
                <a:gd name="T69" fmla="*/ 332 h 1476"/>
                <a:gd name="T70" fmla="*/ 0 w 1427"/>
                <a:gd name="T71" fmla="*/ 355 h 1476"/>
                <a:gd name="T72" fmla="*/ 0 w 1427"/>
                <a:gd name="T73" fmla="*/ 372 h 1476"/>
                <a:gd name="T74" fmla="*/ 3 w 1427"/>
                <a:gd name="T75" fmla="*/ 390 h 1476"/>
                <a:gd name="T76" fmla="*/ 9 w 1427"/>
                <a:gd name="T77" fmla="*/ 408 h 1476"/>
                <a:gd name="T78" fmla="*/ 18 w 1427"/>
                <a:gd name="T79" fmla="*/ 429 h 1476"/>
                <a:gd name="T80" fmla="*/ 29 w 1427"/>
                <a:gd name="T81" fmla="*/ 449 h 1476"/>
                <a:gd name="T82" fmla="*/ 43 w 1427"/>
                <a:gd name="T83" fmla="*/ 468 h 1476"/>
                <a:gd name="T84" fmla="*/ 60 w 1427"/>
                <a:gd name="T85" fmla="*/ 483 h 1476"/>
                <a:gd name="T86" fmla="*/ 96 w 1427"/>
                <a:gd name="T87" fmla="*/ 508 h 1476"/>
                <a:gd name="T88" fmla="*/ 160 w 1427"/>
                <a:gd name="T89" fmla="*/ 542 h 1476"/>
                <a:gd name="T90" fmla="*/ 237 w 1427"/>
                <a:gd name="T91" fmla="*/ 577 h 1476"/>
                <a:gd name="T92" fmla="*/ 362 w 1427"/>
                <a:gd name="T93" fmla="*/ 631 h 1476"/>
                <a:gd name="T94" fmla="*/ 481 w 1427"/>
                <a:gd name="T95" fmla="*/ 682 h 1476"/>
                <a:gd name="T96" fmla="*/ 547 w 1427"/>
                <a:gd name="T97" fmla="*/ 712 h 1476"/>
                <a:gd name="T98" fmla="*/ 619 w 1427"/>
                <a:gd name="T99" fmla="*/ 754 h 1476"/>
                <a:gd name="T100" fmla="*/ 707 w 1427"/>
                <a:gd name="T101" fmla="*/ 813 h 1476"/>
                <a:gd name="T102" fmla="*/ 791 w 1427"/>
                <a:gd name="T103" fmla="*/ 875 h 1476"/>
                <a:gd name="T104" fmla="*/ 870 w 1427"/>
                <a:gd name="T105" fmla="*/ 943 h 1476"/>
                <a:gd name="T106" fmla="*/ 945 w 1427"/>
                <a:gd name="T107" fmla="*/ 1012 h 1476"/>
                <a:gd name="T108" fmla="*/ 1018 w 1427"/>
                <a:gd name="T109" fmla="*/ 1084 h 1476"/>
                <a:gd name="T110" fmla="*/ 1123 w 1427"/>
                <a:gd name="T111" fmla="*/ 1194 h 1476"/>
                <a:gd name="T112" fmla="*/ 1246 w 1427"/>
                <a:gd name="T113" fmla="*/ 1330 h 1476"/>
                <a:gd name="T114" fmla="*/ 1308 w 1427"/>
                <a:gd name="T115" fmla="*/ 1406 h 1476"/>
                <a:gd name="T116" fmla="*/ 1334 w 1427"/>
                <a:gd name="T117" fmla="*/ 1435 h 1476"/>
                <a:gd name="T118" fmla="*/ 1350 w 1427"/>
                <a:gd name="T119" fmla="*/ 1447 h 1476"/>
                <a:gd name="T120" fmla="*/ 1387 w 1427"/>
                <a:gd name="T121" fmla="*/ 1462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27" h="1476">
                  <a:moveTo>
                    <a:pt x="1427" y="1476"/>
                  </a:moveTo>
                  <a:lnTo>
                    <a:pt x="1422" y="1451"/>
                  </a:lnTo>
                  <a:lnTo>
                    <a:pt x="1414" y="1425"/>
                  </a:lnTo>
                  <a:lnTo>
                    <a:pt x="1406" y="1399"/>
                  </a:lnTo>
                  <a:lnTo>
                    <a:pt x="1396" y="1372"/>
                  </a:lnTo>
                  <a:lnTo>
                    <a:pt x="1385" y="1344"/>
                  </a:lnTo>
                  <a:lnTo>
                    <a:pt x="1371" y="1317"/>
                  </a:lnTo>
                  <a:lnTo>
                    <a:pt x="1358" y="1287"/>
                  </a:lnTo>
                  <a:lnTo>
                    <a:pt x="1343" y="1259"/>
                  </a:lnTo>
                  <a:lnTo>
                    <a:pt x="1327" y="1230"/>
                  </a:lnTo>
                  <a:lnTo>
                    <a:pt x="1310" y="1200"/>
                  </a:lnTo>
                  <a:lnTo>
                    <a:pt x="1292" y="1172"/>
                  </a:lnTo>
                  <a:lnTo>
                    <a:pt x="1273" y="1143"/>
                  </a:lnTo>
                  <a:lnTo>
                    <a:pt x="1235" y="1084"/>
                  </a:lnTo>
                  <a:lnTo>
                    <a:pt x="1194" y="1028"/>
                  </a:lnTo>
                  <a:lnTo>
                    <a:pt x="1152" y="971"/>
                  </a:lnTo>
                  <a:lnTo>
                    <a:pt x="1112" y="918"/>
                  </a:lnTo>
                  <a:lnTo>
                    <a:pt x="1070" y="867"/>
                  </a:lnTo>
                  <a:lnTo>
                    <a:pt x="1030" y="820"/>
                  </a:lnTo>
                  <a:lnTo>
                    <a:pt x="992" y="777"/>
                  </a:lnTo>
                  <a:lnTo>
                    <a:pt x="958" y="737"/>
                  </a:lnTo>
                  <a:lnTo>
                    <a:pt x="926" y="703"/>
                  </a:lnTo>
                  <a:lnTo>
                    <a:pt x="899" y="676"/>
                  </a:lnTo>
                  <a:lnTo>
                    <a:pt x="860" y="637"/>
                  </a:lnTo>
                  <a:lnTo>
                    <a:pt x="820" y="598"/>
                  </a:lnTo>
                  <a:lnTo>
                    <a:pt x="779" y="560"/>
                  </a:lnTo>
                  <a:lnTo>
                    <a:pt x="739" y="523"/>
                  </a:lnTo>
                  <a:lnTo>
                    <a:pt x="696" y="486"/>
                  </a:lnTo>
                  <a:lnTo>
                    <a:pt x="653" y="450"/>
                  </a:lnTo>
                  <a:lnTo>
                    <a:pt x="608" y="415"/>
                  </a:lnTo>
                  <a:lnTo>
                    <a:pt x="561" y="379"/>
                  </a:lnTo>
                  <a:lnTo>
                    <a:pt x="540" y="362"/>
                  </a:lnTo>
                  <a:lnTo>
                    <a:pt x="519" y="344"/>
                  </a:lnTo>
                  <a:lnTo>
                    <a:pt x="499" y="324"/>
                  </a:lnTo>
                  <a:lnTo>
                    <a:pt x="480" y="303"/>
                  </a:lnTo>
                  <a:lnTo>
                    <a:pt x="462" y="281"/>
                  </a:lnTo>
                  <a:lnTo>
                    <a:pt x="444" y="258"/>
                  </a:lnTo>
                  <a:lnTo>
                    <a:pt x="427" y="235"/>
                  </a:lnTo>
                  <a:lnTo>
                    <a:pt x="411" y="211"/>
                  </a:lnTo>
                  <a:lnTo>
                    <a:pt x="379" y="160"/>
                  </a:lnTo>
                  <a:lnTo>
                    <a:pt x="349" y="107"/>
                  </a:lnTo>
                  <a:lnTo>
                    <a:pt x="321" y="54"/>
                  </a:lnTo>
                  <a:lnTo>
                    <a:pt x="292" y="0"/>
                  </a:lnTo>
                  <a:lnTo>
                    <a:pt x="258" y="2"/>
                  </a:lnTo>
                  <a:lnTo>
                    <a:pt x="231" y="5"/>
                  </a:lnTo>
                  <a:lnTo>
                    <a:pt x="208" y="9"/>
                  </a:lnTo>
                  <a:lnTo>
                    <a:pt x="188" y="13"/>
                  </a:lnTo>
                  <a:lnTo>
                    <a:pt x="179" y="16"/>
                  </a:lnTo>
                  <a:lnTo>
                    <a:pt x="171" y="20"/>
                  </a:lnTo>
                  <a:lnTo>
                    <a:pt x="165" y="23"/>
                  </a:lnTo>
                  <a:lnTo>
                    <a:pt x="159" y="27"/>
                  </a:lnTo>
                  <a:lnTo>
                    <a:pt x="153" y="31"/>
                  </a:lnTo>
                  <a:lnTo>
                    <a:pt x="148" y="36"/>
                  </a:lnTo>
                  <a:lnTo>
                    <a:pt x="143" y="40"/>
                  </a:lnTo>
                  <a:lnTo>
                    <a:pt x="140" y="46"/>
                  </a:lnTo>
                  <a:lnTo>
                    <a:pt x="132" y="57"/>
                  </a:lnTo>
                  <a:lnTo>
                    <a:pt x="126" y="71"/>
                  </a:lnTo>
                  <a:lnTo>
                    <a:pt x="120" y="85"/>
                  </a:lnTo>
                  <a:lnTo>
                    <a:pt x="114" y="102"/>
                  </a:lnTo>
                  <a:lnTo>
                    <a:pt x="107" y="122"/>
                  </a:lnTo>
                  <a:lnTo>
                    <a:pt x="99" y="143"/>
                  </a:lnTo>
                  <a:lnTo>
                    <a:pt x="89" y="167"/>
                  </a:lnTo>
                  <a:lnTo>
                    <a:pt x="77" y="193"/>
                  </a:lnTo>
                  <a:lnTo>
                    <a:pt x="59" y="225"/>
                  </a:lnTo>
                  <a:lnTo>
                    <a:pt x="39" y="256"/>
                  </a:lnTo>
                  <a:lnTo>
                    <a:pt x="30" y="272"/>
                  </a:lnTo>
                  <a:lnTo>
                    <a:pt x="21" y="286"/>
                  </a:lnTo>
                  <a:lnTo>
                    <a:pt x="14" y="301"/>
                  </a:lnTo>
                  <a:lnTo>
                    <a:pt x="8" y="316"/>
                  </a:lnTo>
                  <a:lnTo>
                    <a:pt x="3" y="332"/>
                  </a:lnTo>
                  <a:lnTo>
                    <a:pt x="0" y="347"/>
                  </a:lnTo>
                  <a:lnTo>
                    <a:pt x="0" y="355"/>
                  </a:lnTo>
                  <a:lnTo>
                    <a:pt x="0" y="363"/>
                  </a:lnTo>
                  <a:lnTo>
                    <a:pt x="0" y="372"/>
                  </a:lnTo>
                  <a:lnTo>
                    <a:pt x="1" y="381"/>
                  </a:lnTo>
                  <a:lnTo>
                    <a:pt x="3" y="390"/>
                  </a:lnTo>
                  <a:lnTo>
                    <a:pt x="5" y="399"/>
                  </a:lnTo>
                  <a:lnTo>
                    <a:pt x="9" y="408"/>
                  </a:lnTo>
                  <a:lnTo>
                    <a:pt x="12" y="419"/>
                  </a:lnTo>
                  <a:lnTo>
                    <a:pt x="18" y="429"/>
                  </a:lnTo>
                  <a:lnTo>
                    <a:pt x="23" y="439"/>
                  </a:lnTo>
                  <a:lnTo>
                    <a:pt x="29" y="449"/>
                  </a:lnTo>
                  <a:lnTo>
                    <a:pt x="37" y="460"/>
                  </a:lnTo>
                  <a:lnTo>
                    <a:pt x="43" y="468"/>
                  </a:lnTo>
                  <a:lnTo>
                    <a:pt x="51" y="475"/>
                  </a:lnTo>
                  <a:lnTo>
                    <a:pt x="60" y="483"/>
                  </a:lnTo>
                  <a:lnTo>
                    <a:pt x="71" y="491"/>
                  </a:lnTo>
                  <a:lnTo>
                    <a:pt x="96" y="508"/>
                  </a:lnTo>
                  <a:lnTo>
                    <a:pt x="126" y="525"/>
                  </a:lnTo>
                  <a:lnTo>
                    <a:pt x="160" y="542"/>
                  </a:lnTo>
                  <a:lnTo>
                    <a:pt x="197" y="560"/>
                  </a:lnTo>
                  <a:lnTo>
                    <a:pt x="237" y="577"/>
                  </a:lnTo>
                  <a:lnTo>
                    <a:pt x="278" y="595"/>
                  </a:lnTo>
                  <a:lnTo>
                    <a:pt x="362" y="631"/>
                  </a:lnTo>
                  <a:lnTo>
                    <a:pt x="444" y="665"/>
                  </a:lnTo>
                  <a:lnTo>
                    <a:pt x="481" y="682"/>
                  </a:lnTo>
                  <a:lnTo>
                    <a:pt x="516" y="698"/>
                  </a:lnTo>
                  <a:lnTo>
                    <a:pt x="547" y="712"/>
                  </a:lnTo>
                  <a:lnTo>
                    <a:pt x="574" y="726"/>
                  </a:lnTo>
                  <a:lnTo>
                    <a:pt x="619" y="754"/>
                  </a:lnTo>
                  <a:lnTo>
                    <a:pt x="664" y="782"/>
                  </a:lnTo>
                  <a:lnTo>
                    <a:pt x="707" y="813"/>
                  </a:lnTo>
                  <a:lnTo>
                    <a:pt x="749" y="843"/>
                  </a:lnTo>
                  <a:lnTo>
                    <a:pt x="791" y="875"/>
                  </a:lnTo>
                  <a:lnTo>
                    <a:pt x="830" y="909"/>
                  </a:lnTo>
                  <a:lnTo>
                    <a:pt x="870" y="943"/>
                  </a:lnTo>
                  <a:lnTo>
                    <a:pt x="908" y="977"/>
                  </a:lnTo>
                  <a:lnTo>
                    <a:pt x="945" y="1012"/>
                  </a:lnTo>
                  <a:lnTo>
                    <a:pt x="982" y="1048"/>
                  </a:lnTo>
                  <a:lnTo>
                    <a:pt x="1018" y="1084"/>
                  </a:lnTo>
                  <a:lnTo>
                    <a:pt x="1053" y="1120"/>
                  </a:lnTo>
                  <a:lnTo>
                    <a:pt x="1123" y="1194"/>
                  </a:lnTo>
                  <a:lnTo>
                    <a:pt x="1191" y="1267"/>
                  </a:lnTo>
                  <a:lnTo>
                    <a:pt x="1246" y="1330"/>
                  </a:lnTo>
                  <a:lnTo>
                    <a:pt x="1283" y="1376"/>
                  </a:lnTo>
                  <a:lnTo>
                    <a:pt x="1308" y="1406"/>
                  </a:lnTo>
                  <a:lnTo>
                    <a:pt x="1326" y="1427"/>
                  </a:lnTo>
                  <a:lnTo>
                    <a:pt x="1334" y="1435"/>
                  </a:lnTo>
                  <a:lnTo>
                    <a:pt x="1342" y="1442"/>
                  </a:lnTo>
                  <a:lnTo>
                    <a:pt x="1350" y="1447"/>
                  </a:lnTo>
                  <a:lnTo>
                    <a:pt x="1360" y="1452"/>
                  </a:lnTo>
                  <a:lnTo>
                    <a:pt x="1387" y="1462"/>
                  </a:lnTo>
                  <a:lnTo>
                    <a:pt x="1427" y="14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prstClr val="black"/>
                </a:solidFill>
                <a:latin typeface="Calibri"/>
              </a:endParaRPr>
            </a:p>
          </p:txBody>
        </p:sp>
        <p:sp>
          <p:nvSpPr>
            <p:cNvPr id="17" name="Freeform 15"/>
            <p:cNvSpPr>
              <a:spLocks/>
            </p:cNvSpPr>
            <p:nvPr/>
          </p:nvSpPr>
          <p:spPr bwMode="auto">
            <a:xfrm>
              <a:off x="2889250" y="3351213"/>
              <a:ext cx="790575" cy="698500"/>
            </a:xfrm>
            <a:custGeom>
              <a:avLst/>
              <a:gdLst>
                <a:gd name="T0" fmla="*/ 26 w 1495"/>
                <a:gd name="T1" fmla="*/ 1307 h 1320"/>
                <a:gd name="T2" fmla="*/ 81 w 1495"/>
                <a:gd name="T3" fmla="*/ 1320 h 1320"/>
                <a:gd name="T4" fmla="*/ 150 w 1495"/>
                <a:gd name="T5" fmla="*/ 1314 h 1320"/>
                <a:gd name="T6" fmla="*/ 228 w 1495"/>
                <a:gd name="T7" fmla="*/ 1288 h 1320"/>
                <a:gd name="T8" fmla="*/ 313 w 1495"/>
                <a:gd name="T9" fmla="*/ 1249 h 1320"/>
                <a:gd name="T10" fmla="*/ 428 w 1495"/>
                <a:gd name="T11" fmla="*/ 1185 h 1320"/>
                <a:gd name="T12" fmla="*/ 584 w 1495"/>
                <a:gd name="T13" fmla="*/ 1081 h 1320"/>
                <a:gd name="T14" fmla="*/ 693 w 1495"/>
                <a:gd name="T15" fmla="*/ 998 h 1320"/>
                <a:gd name="T16" fmla="*/ 755 w 1495"/>
                <a:gd name="T17" fmla="*/ 942 h 1320"/>
                <a:gd name="T18" fmla="*/ 821 w 1495"/>
                <a:gd name="T19" fmla="*/ 871 h 1320"/>
                <a:gd name="T20" fmla="*/ 910 w 1495"/>
                <a:gd name="T21" fmla="*/ 763 h 1320"/>
                <a:gd name="T22" fmla="*/ 1016 w 1495"/>
                <a:gd name="T23" fmla="*/ 638 h 1320"/>
                <a:gd name="T24" fmla="*/ 1121 w 1495"/>
                <a:gd name="T25" fmla="*/ 512 h 1320"/>
                <a:gd name="T26" fmla="*/ 1214 w 1495"/>
                <a:gd name="T27" fmla="*/ 385 h 1320"/>
                <a:gd name="T28" fmla="*/ 1315 w 1495"/>
                <a:gd name="T29" fmla="*/ 367 h 1320"/>
                <a:gd name="T30" fmla="*/ 1384 w 1495"/>
                <a:gd name="T31" fmla="*/ 378 h 1320"/>
                <a:gd name="T32" fmla="*/ 1426 w 1495"/>
                <a:gd name="T33" fmla="*/ 379 h 1320"/>
                <a:gd name="T34" fmla="*/ 1454 w 1495"/>
                <a:gd name="T35" fmla="*/ 374 h 1320"/>
                <a:gd name="T36" fmla="*/ 1476 w 1495"/>
                <a:gd name="T37" fmla="*/ 361 h 1320"/>
                <a:gd name="T38" fmla="*/ 1489 w 1495"/>
                <a:gd name="T39" fmla="*/ 340 h 1320"/>
                <a:gd name="T40" fmla="*/ 1495 w 1495"/>
                <a:gd name="T41" fmla="*/ 309 h 1320"/>
                <a:gd name="T42" fmla="*/ 1488 w 1495"/>
                <a:gd name="T43" fmla="*/ 265 h 1320"/>
                <a:gd name="T44" fmla="*/ 1465 w 1495"/>
                <a:gd name="T45" fmla="*/ 212 h 1320"/>
                <a:gd name="T46" fmla="*/ 1428 w 1495"/>
                <a:gd name="T47" fmla="*/ 159 h 1320"/>
                <a:gd name="T48" fmla="*/ 1381 w 1495"/>
                <a:gd name="T49" fmla="*/ 109 h 1320"/>
                <a:gd name="T50" fmla="*/ 1325 w 1495"/>
                <a:gd name="T51" fmla="*/ 66 h 1320"/>
                <a:gd name="T52" fmla="*/ 1266 w 1495"/>
                <a:gd name="T53" fmla="*/ 31 h 1320"/>
                <a:gd name="T54" fmla="*/ 1204 w 1495"/>
                <a:gd name="T55" fmla="*/ 9 h 1320"/>
                <a:gd name="T56" fmla="*/ 1146 w 1495"/>
                <a:gd name="T57" fmla="*/ 0 h 1320"/>
                <a:gd name="T58" fmla="*/ 1092 w 1495"/>
                <a:gd name="T59" fmla="*/ 9 h 1320"/>
                <a:gd name="T60" fmla="*/ 1045 w 1495"/>
                <a:gd name="T61" fmla="*/ 38 h 1320"/>
                <a:gd name="T62" fmla="*/ 1010 w 1495"/>
                <a:gd name="T63" fmla="*/ 89 h 1320"/>
                <a:gd name="T64" fmla="*/ 959 w 1495"/>
                <a:gd name="T65" fmla="*/ 235 h 1320"/>
                <a:gd name="T66" fmla="*/ 895 w 1495"/>
                <a:gd name="T67" fmla="*/ 391 h 1320"/>
                <a:gd name="T68" fmla="*/ 820 w 1495"/>
                <a:gd name="T69" fmla="*/ 525 h 1320"/>
                <a:gd name="T70" fmla="*/ 727 w 1495"/>
                <a:gd name="T71" fmla="*/ 655 h 1320"/>
                <a:gd name="T72" fmla="*/ 603 w 1495"/>
                <a:gd name="T73" fmla="*/ 798 h 1320"/>
                <a:gd name="T74" fmla="*/ 463 w 1495"/>
                <a:gd name="T75" fmla="*/ 949 h 1320"/>
                <a:gd name="T76" fmla="*/ 365 w 1495"/>
                <a:gd name="T77" fmla="*/ 1049 h 1320"/>
                <a:gd name="T78" fmla="*/ 286 w 1495"/>
                <a:gd name="T79" fmla="*/ 1122 h 1320"/>
                <a:gd name="T80" fmla="*/ 224 w 1495"/>
                <a:gd name="T81" fmla="*/ 1171 h 1320"/>
                <a:gd name="T82" fmla="*/ 176 w 1495"/>
                <a:gd name="T83" fmla="*/ 1203 h 1320"/>
                <a:gd name="T84" fmla="*/ 140 w 1495"/>
                <a:gd name="T85" fmla="*/ 1221 h 1320"/>
                <a:gd name="T86" fmla="*/ 87 w 1495"/>
                <a:gd name="T87" fmla="*/ 1236 h 1320"/>
                <a:gd name="T88" fmla="*/ 58 w 1495"/>
                <a:gd name="T89" fmla="*/ 1245 h 1320"/>
                <a:gd name="T90" fmla="*/ 32 w 1495"/>
                <a:gd name="T91" fmla="*/ 1258 h 1320"/>
                <a:gd name="T92" fmla="*/ 0 w 1495"/>
                <a:gd name="T93" fmla="*/ 1284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5" h="1320">
                  <a:moveTo>
                    <a:pt x="0" y="1284"/>
                  </a:moveTo>
                  <a:lnTo>
                    <a:pt x="12" y="1297"/>
                  </a:lnTo>
                  <a:lnTo>
                    <a:pt x="26" y="1307"/>
                  </a:lnTo>
                  <a:lnTo>
                    <a:pt x="43" y="1315"/>
                  </a:lnTo>
                  <a:lnTo>
                    <a:pt x="61" y="1319"/>
                  </a:lnTo>
                  <a:lnTo>
                    <a:pt x="81" y="1320"/>
                  </a:lnTo>
                  <a:lnTo>
                    <a:pt x="103" y="1320"/>
                  </a:lnTo>
                  <a:lnTo>
                    <a:pt x="125" y="1318"/>
                  </a:lnTo>
                  <a:lnTo>
                    <a:pt x="150" y="1314"/>
                  </a:lnTo>
                  <a:lnTo>
                    <a:pt x="175" y="1307"/>
                  </a:lnTo>
                  <a:lnTo>
                    <a:pt x="202" y="1298"/>
                  </a:lnTo>
                  <a:lnTo>
                    <a:pt x="228" y="1288"/>
                  </a:lnTo>
                  <a:lnTo>
                    <a:pt x="257" y="1276"/>
                  </a:lnTo>
                  <a:lnTo>
                    <a:pt x="285" y="1264"/>
                  </a:lnTo>
                  <a:lnTo>
                    <a:pt x="313" y="1249"/>
                  </a:lnTo>
                  <a:lnTo>
                    <a:pt x="342" y="1235"/>
                  </a:lnTo>
                  <a:lnTo>
                    <a:pt x="371" y="1219"/>
                  </a:lnTo>
                  <a:lnTo>
                    <a:pt x="428" y="1185"/>
                  </a:lnTo>
                  <a:lnTo>
                    <a:pt x="484" y="1150"/>
                  </a:lnTo>
                  <a:lnTo>
                    <a:pt x="536" y="1115"/>
                  </a:lnTo>
                  <a:lnTo>
                    <a:pt x="584" y="1081"/>
                  </a:lnTo>
                  <a:lnTo>
                    <a:pt x="627" y="1049"/>
                  </a:lnTo>
                  <a:lnTo>
                    <a:pt x="663" y="1021"/>
                  </a:lnTo>
                  <a:lnTo>
                    <a:pt x="693" y="998"/>
                  </a:lnTo>
                  <a:lnTo>
                    <a:pt x="712" y="981"/>
                  </a:lnTo>
                  <a:lnTo>
                    <a:pt x="734" y="961"/>
                  </a:lnTo>
                  <a:lnTo>
                    <a:pt x="755" y="942"/>
                  </a:lnTo>
                  <a:lnTo>
                    <a:pt x="773" y="924"/>
                  </a:lnTo>
                  <a:lnTo>
                    <a:pt x="790" y="906"/>
                  </a:lnTo>
                  <a:lnTo>
                    <a:pt x="821" y="871"/>
                  </a:lnTo>
                  <a:lnTo>
                    <a:pt x="850" y="837"/>
                  </a:lnTo>
                  <a:lnTo>
                    <a:pt x="879" y="801"/>
                  </a:lnTo>
                  <a:lnTo>
                    <a:pt x="910" y="763"/>
                  </a:lnTo>
                  <a:lnTo>
                    <a:pt x="943" y="722"/>
                  </a:lnTo>
                  <a:lnTo>
                    <a:pt x="984" y="674"/>
                  </a:lnTo>
                  <a:lnTo>
                    <a:pt x="1016" y="638"/>
                  </a:lnTo>
                  <a:lnTo>
                    <a:pt x="1050" y="597"/>
                  </a:lnTo>
                  <a:lnTo>
                    <a:pt x="1086" y="556"/>
                  </a:lnTo>
                  <a:lnTo>
                    <a:pt x="1121" y="512"/>
                  </a:lnTo>
                  <a:lnTo>
                    <a:pt x="1155" y="467"/>
                  </a:lnTo>
                  <a:lnTo>
                    <a:pt x="1186" y="425"/>
                  </a:lnTo>
                  <a:lnTo>
                    <a:pt x="1214" y="385"/>
                  </a:lnTo>
                  <a:lnTo>
                    <a:pt x="1236" y="350"/>
                  </a:lnTo>
                  <a:lnTo>
                    <a:pt x="1272" y="357"/>
                  </a:lnTo>
                  <a:lnTo>
                    <a:pt x="1315" y="367"/>
                  </a:lnTo>
                  <a:lnTo>
                    <a:pt x="1338" y="371"/>
                  </a:lnTo>
                  <a:lnTo>
                    <a:pt x="1360" y="376"/>
                  </a:lnTo>
                  <a:lnTo>
                    <a:pt x="1384" y="378"/>
                  </a:lnTo>
                  <a:lnTo>
                    <a:pt x="1406" y="379"/>
                  </a:lnTo>
                  <a:lnTo>
                    <a:pt x="1416" y="379"/>
                  </a:lnTo>
                  <a:lnTo>
                    <a:pt x="1426" y="379"/>
                  </a:lnTo>
                  <a:lnTo>
                    <a:pt x="1436" y="377"/>
                  </a:lnTo>
                  <a:lnTo>
                    <a:pt x="1445" y="376"/>
                  </a:lnTo>
                  <a:lnTo>
                    <a:pt x="1454" y="374"/>
                  </a:lnTo>
                  <a:lnTo>
                    <a:pt x="1462" y="370"/>
                  </a:lnTo>
                  <a:lnTo>
                    <a:pt x="1469" y="366"/>
                  </a:lnTo>
                  <a:lnTo>
                    <a:pt x="1476" y="361"/>
                  </a:lnTo>
                  <a:lnTo>
                    <a:pt x="1481" y="354"/>
                  </a:lnTo>
                  <a:lnTo>
                    <a:pt x="1486" y="348"/>
                  </a:lnTo>
                  <a:lnTo>
                    <a:pt x="1489" y="340"/>
                  </a:lnTo>
                  <a:lnTo>
                    <a:pt x="1493" y="331"/>
                  </a:lnTo>
                  <a:lnTo>
                    <a:pt x="1494" y="321"/>
                  </a:lnTo>
                  <a:lnTo>
                    <a:pt x="1495" y="309"/>
                  </a:lnTo>
                  <a:lnTo>
                    <a:pt x="1494" y="297"/>
                  </a:lnTo>
                  <a:lnTo>
                    <a:pt x="1491" y="283"/>
                  </a:lnTo>
                  <a:lnTo>
                    <a:pt x="1488" y="265"/>
                  </a:lnTo>
                  <a:lnTo>
                    <a:pt x="1482" y="248"/>
                  </a:lnTo>
                  <a:lnTo>
                    <a:pt x="1475" y="230"/>
                  </a:lnTo>
                  <a:lnTo>
                    <a:pt x="1465" y="212"/>
                  </a:lnTo>
                  <a:lnTo>
                    <a:pt x="1454" y="194"/>
                  </a:lnTo>
                  <a:lnTo>
                    <a:pt x="1442" y="177"/>
                  </a:lnTo>
                  <a:lnTo>
                    <a:pt x="1428" y="159"/>
                  </a:lnTo>
                  <a:lnTo>
                    <a:pt x="1414" y="142"/>
                  </a:lnTo>
                  <a:lnTo>
                    <a:pt x="1398" y="126"/>
                  </a:lnTo>
                  <a:lnTo>
                    <a:pt x="1381" y="109"/>
                  </a:lnTo>
                  <a:lnTo>
                    <a:pt x="1363" y="95"/>
                  </a:lnTo>
                  <a:lnTo>
                    <a:pt x="1345" y="80"/>
                  </a:lnTo>
                  <a:lnTo>
                    <a:pt x="1325" y="66"/>
                  </a:lnTo>
                  <a:lnTo>
                    <a:pt x="1306" y="54"/>
                  </a:lnTo>
                  <a:lnTo>
                    <a:pt x="1286" y="43"/>
                  </a:lnTo>
                  <a:lnTo>
                    <a:pt x="1266" y="31"/>
                  </a:lnTo>
                  <a:lnTo>
                    <a:pt x="1245" y="22"/>
                  </a:lnTo>
                  <a:lnTo>
                    <a:pt x="1225" y="14"/>
                  </a:lnTo>
                  <a:lnTo>
                    <a:pt x="1204" y="9"/>
                  </a:lnTo>
                  <a:lnTo>
                    <a:pt x="1185" y="4"/>
                  </a:lnTo>
                  <a:lnTo>
                    <a:pt x="1165" y="1"/>
                  </a:lnTo>
                  <a:lnTo>
                    <a:pt x="1146" y="0"/>
                  </a:lnTo>
                  <a:lnTo>
                    <a:pt x="1127" y="1"/>
                  </a:lnTo>
                  <a:lnTo>
                    <a:pt x="1108" y="4"/>
                  </a:lnTo>
                  <a:lnTo>
                    <a:pt x="1092" y="9"/>
                  </a:lnTo>
                  <a:lnTo>
                    <a:pt x="1075" y="17"/>
                  </a:lnTo>
                  <a:lnTo>
                    <a:pt x="1060" y="26"/>
                  </a:lnTo>
                  <a:lnTo>
                    <a:pt x="1045" y="38"/>
                  </a:lnTo>
                  <a:lnTo>
                    <a:pt x="1033" y="53"/>
                  </a:lnTo>
                  <a:lnTo>
                    <a:pt x="1020" y="70"/>
                  </a:lnTo>
                  <a:lnTo>
                    <a:pt x="1010" y="89"/>
                  </a:lnTo>
                  <a:lnTo>
                    <a:pt x="1001" y="112"/>
                  </a:lnTo>
                  <a:lnTo>
                    <a:pt x="981" y="176"/>
                  </a:lnTo>
                  <a:lnTo>
                    <a:pt x="959" y="235"/>
                  </a:lnTo>
                  <a:lnTo>
                    <a:pt x="938" y="290"/>
                  </a:lnTo>
                  <a:lnTo>
                    <a:pt x="916" y="342"/>
                  </a:lnTo>
                  <a:lnTo>
                    <a:pt x="895" y="391"/>
                  </a:lnTo>
                  <a:lnTo>
                    <a:pt x="871" y="437"/>
                  </a:lnTo>
                  <a:lnTo>
                    <a:pt x="846" y="481"/>
                  </a:lnTo>
                  <a:lnTo>
                    <a:pt x="820" y="525"/>
                  </a:lnTo>
                  <a:lnTo>
                    <a:pt x="791" y="568"/>
                  </a:lnTo>
                  <a:lnTo>
                    <a:pt x="760" y="611"/>
                  </a:lnTo>
                  <a:lnTo>
                    <a:pt x="727" y="655"/>
                  </a:lnTo>
                  <a:lnTo>
                    <a:pt x="689" y="701"/>
                  </a:lnTo>
                  <a:lnTo>
                    <a:pt x="649" y="749"/>
                  </a:lnTo>
                  <a:lnTo>
                    <a:pt x="603" y="798"/>
                  </a:lnTo>
                  <a:lnTo>
                    <a:pt x="555" y="852"/>
                  </a:lnTo>
                  <a:lnTo>
                    <a:pt x="502" y="908"/>
                  </a:lnTo>
                  <a:lnTo>
                    <a:pt x="463" y="949"/>
                  </a:lnTo>
                  <a:lnTo>
                    <a:pt x="428" y="985"/>
                  </a:lnTo>
                  <a:lnTo>
                    <a:pt x="396" y="1019"/>
                  </a:lnTo>
                  <a:lnTo>
                    <a:pt x="365" y="1049"/>
                  </a:lnTo>
                  <a:lnTo>
                    <a:pt x="336" y="1075"/>
                  </a:lnTo>
                  <a:lnTo>
                    <a:pt x="310" y="1100"/>
                  </a:lnTo>
                  <a:lnTo>
                    <a:pt x="286" y="1122"/>
                  </a:lnTo>
                  <a:lnTo>
                    <a:pt x="263" y="1140"/>
                  </a:lnTo>
                  <a:lnTo>
                    <a:pt x="243" y="1157"/>
                  </a:lnTo>
                  <a:lnTo>
                    <a:pt x="224" y="1171"/>
                  </a:lnTo>
                  <a:lnTo>
                    <a:pt x="207" y="1184"/>
                  </a:lnTo>
                  <a:lnTo>
                    <a:pt x="191" y="1194"/>
                  </a:lnTo>
                  <a:lnTo>
                    <a:pt x="176" y="1203"/>
                  </a:lnTo>
                  <a:lnTo>
                    <a:pt x="164" y="1210"/>
                  </a:lnTo>
                  <a:lnTo>
                    <a:pt x="151" y="1216"/>
                  </a:lnTo>
                  <a:lnTo>
                    <a:pt x="140" y="1221"/>
                  </a:lnTo>
                  <a:lnTo>
                    <a:pt x="121" y="1228"/>
                  </a:lnTo>
                  <a:lnTo>
                    <a:pt x="103" y="1232"/>
                  </a:lnTo>
                  <a:lnTo>
                    <a:pt x="87" y="1236"/>
                  </a:lnTo>
                  <a:lnTo>
                    <a:pt x="72" y="1239"/>
                  </a:lnTo>
                  <a:lnTo>
                    <a:pt x="64" y="1241"/>
                  </a:lnTo>
                  <a:lnTo>
                    <a:pt x="58" y="1245"/>
                  </a:lnTo>
                  <a:lnTo>
                    <a:pt x="49" y="1248"/>
                  </a:lnTo>
                  <a:lnTo>
                    <a:pt x="41" y="1253"/>
                  </a:lnTo>
                  <a:lnTo>
                    <a:pt x="32" y="1258"/>
                  </a:lnTo>
                  <a:lnTo>
                    <a:pt x="22" y="1265"/>
                  </a:lnTo>
                  <a:lnTo>
                    <a:pt x="11" y="1274"/>
                  </a:lnTo>
                  <a:lnTo>
                    <a:pt x="0" y="12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prstClr val="black"/>
                </a:solidFill>
                <a:latin typeface="Calibri"/>
              </a:endParaRPr>
            </a:p>
          </p:txBody>
        </p:sp>
        <p:sp>
          <p:nvSpPr>
            <p:cNvPr id="18" name="Freeform 16"/>
            <p:cNvSpPr>
              <a:spLocks/>
            </p:cNvSpPr>
            <p:nvPr/>
          </p:nvSpPr>
          <p:spPr bwMode="auto">
            <a:xfrm>
              <a:off x="8899525" y="3951288"/>
              <a:ext cx="576263" cy="295275"/>
            </a:xfrm>
            <a:custGeom>
              <a:avLst/>
              <a:gdLst>
                <a:gd name="T0" fmla="*/ 39 w 1089"/>
                <a:gd name="T1" fmla="*/ 249 h 558"/>
                <a:gd name="T2" fmla="*/ 89 w 1089"/>
                <a:gd name="T3" fmla="*/ 261 h 558"/>
                <a:gd name="T4" fmla="*/ 130 w 1089"/>
                <a:gd name="T5" fmla="*/ 269 h 558"/>
                <a:gd name="T6" fmla="*/ 162 w 1089"/>
                <a:gd name="T7" fmla="*/ 271 h 558"/>
                <a:gd name="T8" fmla="*/ 190 w 1089"/>
                <a:gd name="T9" fmla="*/ 270 h 558"/>
                <a:gd name="T10" fmla="*/ 211 w 1089"/>
                <a:gd name="T11" fmla="*/ 265 h 558"/>
                <a:gd name="T12" fmla="*/ 239 w 1089"/>
                <a:gd name="T13" fmla="*/ 258 h 558"/>
                <a:gd name="T14" fmla="*/ 267 w 1089"/>
                <a:gd name="T15" fmla="*/ 251 h 558"/>
                <a:gd name="T16" fmla="*/ 288 w 1089"/>
                <a:gd name="T17" fmla="*/ 249 h 558"/>
                <a:gd name="T18" fmla="*/ 312 w 1089"/>
                <a:gd name="T19" fmla="*/ 251 h 558"/>
                <a:gd name="T20" fmla="*/ 342 w 1089"/>
                <a:gd name="T21" fmla="*/ 256 h 558"/>
                <a:gd name="T22" fmla="*/ 378 w 1089"/>
                <a:gd name="T23" fmla="*/ 269 h 558"/>
                <a:gd name="T24" fmla="*/ 423 w 1089"/>
                <a:gd name="T25" fmla="*/ 289 h 558"/>
                <a:gd name="T26" fmla="*/ 480 w 1089"/>
                <a:gd name="T27" fmla="*/ 317 h 558"/>
                <a:gd name="T28" fmla="*/ 548 w 1089"/>
                <a:gd name="T29" fmla="*/ 355 h 558"/>
                <a:gd name="T30" fmla="*/ 635 w 1089"/>
                <a:gd name="T31" fmla="*/ 407 h 558"/>
                <a:gd name="T32" fmla="*/ 727 w 1089"/>
                <a:gd name="T33" fmla="*/ 460 h 558"/>
                <a:gd name="T34" fmla="*/ 799 w 1089"/>
                <a:gd name="T35" fmla="*/ 496 h 558"/>
                <a:gd name="T36" fmla="*/ 871 w 1089"/>
                <a:gd name="T37" fmla="*/ 528 h 558"/>
                <a:gd name="T38" fmla="*/ 925 w 1089"/>
                <a:gd name="T39" fmla="*/ 546 h 558"/>
                <a:gd name="T40" fmla="*/ 960 w 1089"/>
                <a:gd name="T41" fmla="*/ 554 h 558"/>
                <a:gd name="T42" fmla="*/ 993 w 1089"/>
                <a:gd name="T43" fmla="*/ 558 h 558"/>
                <a:gd name="T44" fmla="*/ 1023 w 1089"/>
                <a:gd name="T45" fmla="*/ 558 h 558"/>
                <a:gd name="T46" fmla="*/ 1052 w 1089"/>
                <a:gd name="T47" fmla="*/ 552 h 558"/>
                <a:gd name="T48" fmla="*/ 1078 w 1089"/>
                <a:gd name="T49" fmla="*/ 542 h 558"/>
                <a:gd name="T50" fmla="*/ 1083 w 1089"/>
                <a:gd name="T51" fmla="*/ 525 h 558"/>
                <a:gd name="T52" fmla="*/ 1067 w 1089"/>
                <a:gd name="T53" fmla="*/ 503 h 558"/>
                <a:gd name="T54" fmla="*/ 1047 w 1089"/>
                <a:gd name="T55" fmla="*/ 481 h 558"/>
                <a:gd name="T56" fmla="*/ 1021 w 1089"/>
                <a:gd name="T57" fmla="*/ 459 h 558"/>
                <a:gd name="T58" fmla="*/ 976 w 1089"/>
                <a:gd name="T59" fmla="*/ 426 h 558"/>
                <a:gd name="T60" fmla="*/ 906 w 1089"/>
                <a:gd name="T61" fmla="*/ 382 h 558"/>
                <a:gd name="T62" fmla="*/ 793 w 1089"/>
                <a:gd name="T63" fmla="*/ 320 h 558"/>
                <a:gd name="T64" fmla="*/ 654 w 1089"/>
                <a:gd name="T65" fmla="*/ 250 h 558"/>
                <a:gd name="T66" fmla="*/ 545 w 1089"/>
                <a:gd name="T67" fmla="*/ 188 h 558"/>
                <a:gd name="T68" fmla="*/ 451 w 1089"/>
                <a:gd name="T69" fmla="*/ 130 h 558"/>
                <a:gd name="T70" fmla="*/ 384 w 1089"/>
                <a:gd name="T71" fmla="*/ 91 h 558"/>
                <a:gd name="T72" fmla="*/ 315 w 1089"/>
                <a:gd name="T73" fmla="*/ 56 h 558"/>
                <a:gd name="T74" fmla="*/ 243 w 1089"/>
                <a:gd name="T75" fmla="*/ 28 h 558"/>
                <a:gd name="T76" fmla="*/ 188 w 1089"/>
                <a:gd name="T77" fmla="*/ 12 h 558"/>
                <a:gd name="T78" fmla="*/ 152 w 1089"/>
                <a:gd name="T79" fmla="*/ 6 h 558"/>
                <a:gd name="T80" fmla="*/ 115 w 1089"/>
                <a:gd name="T81" fmla="*/ 1 h 558"/>
                <a:gd name="T82" fmla="*/ 78 w 1089"/>
                <a:gd name="T83" fmla="*/ 0 h 558"/>
                <a:gd name="T84" fmla="*/ 49 w 1089"/>
                <a:gd name="T85" fmla="*/ 14 h 558"/>
                <a:gd name="T86" fmla="*/ 32 w 1089"/>
                <a:gd name="T87" fmla="*/ 38 h 558"/>
                <a:gd name="T88" fmla="*/ 18 w 1089"/>
                <a:gd name="T89" fmla="*/ 66 h 558"/>
                <a:gd name="T90" fmla="*/ 8 w 1089"/>
                <a:gd name="T91" fmla="*/ 93 h 558"/>
                <a:gd name="T92" fmla="*/ 2 w 1089"/>
                <a:gd name="T93" fmla="*/ 122 h 558"/>
                <a:gd name="T94" fmla="*/ 0 w 1089"/>
                <a:gd name="T95" fmla="*/ 152 h 558"/>
                <a:gd name="T96" fmla="*/ 1 w 1089"/>
                <a:gd name="T97" fmla="*/ 185 h 558"/>
                <a:gd name="T98" fmla="*/ 5 w 1089"/>
                <a:gd name="T99" fmla="*/ 22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89" h="558">
                  <a:moveTo>
                    <a:pt x="10" y="238"/>
                  </a:moveTo>
                  <a:lnTo>
                    <a:pt x="39" y="249"/>
                  </a:lnTo>
                  <a:lnTo>
                    <a:pt x="65" y="255"/>
                  </a:lnTo>
                  <a:lnTo>
                    <a:pt x="89" y="261"/>
                  </a:lnTo>
                  <a:lnTo>
                    <a:pt x="110" y="265"/>
                  </a:lnTo>
                  <a:lnTo>
                    <a:pt x="130" y="269"/>
                  </a:lnTo>
                  <a:lnTo>
                    <a:pt x="147" y="270"/>
                  </a:lnTo>
                  <a:lnTo>
                    <a:pt x="162" y="271"/>
                  </a:lnTo>
                  <a:lnTo>
                    <a:pt x="177" y="271"/>
                  </a:lnTo>
                  <a:lnTo>
                    <a:pt x="190" y="270"/>
                  </a:lnTo>
                  <a:lnTo>
                    <a:pt x="201" y="268"/>
                  </a:lnTo>
                  <a:lnTo>
                    <a:pt x="211" y="265"/>
                  </a:lnTo>
                  <a:lnTo>
                    <a:pt x="221" y="263"/>
                  </a:lnTo>
                  <a:lnTo>
                    <a:pt x="239" y="258"/>
                  </a:lnTo>
                  <a:lnTo>
                    <a:pt x="257" y="253"/>
                  </a:lnTo>
                  <a:lnTo>
                    <a:pt x="267" y="251"/>
                  </a:lnTo>
                  <a:lnTo>
                    <a:pt x="277" y="250"/>
                  </a:lnTo>
                  <a:lnTo>
                    <a:pt x="288" y="249"/>
                  </a:lnTo>
                  <a:lnTo>
                    <a:pt x="299" y="249"/>
                  </a:lnTo>
                  <a:lnTo>
                    <a:pt x="312" y="251"/>
                  </a:lnTo>
                  <a:lnTo>
                    <a:pt x="326" y="253"/>
                  </a:lnTo>
                  <a:lnTo>
                    <a:pt x="342" y="256"/>
                  </a:lnTo>
                  <a:lnTo>
                    <a:pt x="359" y="262"/>
                  </a:lnTo>
                  <a:lnTo>
                    <a:pt x="378" y="269"/>
                  </a:lnTo>
                  <a:lnTo>
                    <a:pt x="400" y="278"/>
                  </a:lnTo>
                  <a:lnTo>
                    <a:pt x="423" y="289"/>
                  </a:lnTo>
                  <a:lnTo>
                    <a:pt x="451" y="302"/>
                  </a:lnTo>
                  <a:lnTo>
                    <a:pt x="480" y="317"/>
                  </a:lnTo>
                  <a:lnTo>
                    <a:pt x="513" y="334"/>
                  </a:lnTo>
                  <a:lnTo>
                    <a:pt x="548" y="355"/>
                  </a:lnTo>
                  <a:lnTo>
                    <a:pt x="587" y="378"/>
                  </a:lnTo>
                  <a:lnTo>
                    <a:pt x="635" y="407"/>
                  </a:lnTo>
                  <a:lnTo>
                    <a:pt x="695" y="442"/>
                  </a:lnTo>
                  <a:lnTo>
                    <a:pt x="727" y="460"/>
                  </a:lnTo>
                  <a:lnTo>
                    <a:pt x="762" y="479"/>
                  </a:lnTo>
                  <a:lnTo>
                    <a:pt x="799" y="496"/>
                  </a:lnTo>
                  <a:lnTo>
                    <a:pt x="835" y="513"/>
                  </a:lnTo>
                  <a:lnTo>
                    <a:pt x="871" y="528"/>
                  </a:lnTo>
                  <a:lnTo>
                    <a:pt x="907" y="540"/>
                  </a:lnTo>
                  <a:lnTo>
                    <a:pt x="925" y="546"/>
                  </a:lnTo>
                  <a:lnTo>
                    <a:pt x="943" y="550"/>
                  </a:lnTo>
                  <a:lnTo>
                    <a:pt x="960" y="554"/>
                  </a:lnTo>
                  <a:lnTo>
                    <a:pt x="977" y="556"/>
                  </a:lnTo>
                  <a:lnTo>
                    <a:pt x="993" y="558"/>
                  </a:lnTo>
                  <a:lnTo>
                    <a:pt x="1009" y="558"/>
                  </a:lnTo>
                  <a:lnTo>
                    <a:pt x="1023" y="558"/>
                  </a:lnTo>
                  <a:lnTo>
                    <a:pt x="1038" y="556"/>
                  </a:lnTo>
                  <a:lnTo>
                    <a:pt x="1052" y="552"/>
                  </a:lnTo>
                  <a:lnTo>
                    <a:pt x="1065" y="549"/>
                  </a:lnTo>
                  <a:lnTo>
                    <a:pt x="1078" y="542"/>
                  </a:lnTo>
                  <a:lnTo>
                    <a:pt x="1089" y="535"/>
                  </a:lnTo>
                  <a:lnTo>
                    <a:pt x="1083" y="525"/>
                  </a:lnTo>
                  <a:lnTo>
                    <a:pt x="1076" y="514"/>
                  </a:lnTo>
                  <a:lnTo>
                    <a:pt x="1067" y="503"/>
                  </a:lnTo>
                  <a:lnTo>
                    <a:pt x="1058" y="493"/>
                  </a:lnTo>
                  <a:lnTo>
                    <a:pt x="1047" y="481"/>
                  </a:lnTo>
                  <a:lnTo>
                    <a:pt x="1035" y="470"/>
                  </a:lnTo>
                  <a:lnTo>
                    <a:pt x="1021" y="459"/>
                  </a:lnTo>
                  <a:lnTo>
                    <a:pt x="1008" y="447"/>
                  </a:lnTo>
                  <a:lnTo>
                    <a:pt x="976" y="426"/>
                  </a:lnTo>
                  <a:lnTo>
                    <a:pt x="942" y="403"/>
                  </a:lnTo>
                  <a:lnTo>
                    <a:pt x="906" y="382"/>
                  </a:lnTo>
                  <a:lnTo>
                    <a:pt x="869" y="360"/>
                  </a:lnTo>
                  <a:lnTo>
                    <a:pt x="793" y="320"/>
                  </a:lnTo>
                  <a:lnTo>
                    <a:pt x="719" y="282"/>
                  </a:lnTo>
                  <a:lnTo>
                    <a:pt x="654" y="250"/>
                  </a:lnTo>
                  <a:lnTo>
                    <a:pt x="604" y="224"/>
                  </a:lnTo>
                  <a:lnTo>
                    <a:pt x="545" y="188"/>
                  </a:lnTo>
                  <a:lnTo>
                    <a:pt x="483" y="149"/>
                  </a:lnTo>
                  <a:lnTo>
                    <a:pt x="451" y="130"/>
                  </a:lnTo>
                  <a:lnTo>
                    <a:pt x="418" y="111"/>
                  </a:lnTo>
                  <a:lnTo>
                    <a:pt x="384" y="91"/>
                  </a:lnTo>
                  <a:lnTo>
                    <a:pt x="350" y="73"/>
                  </a:lnTo>
                  <a:lnTo>
                    <a:pt x="315" y="56"/>
                  </a:lnTo>
                  <a:lnTo>
                    <a:pt x="279" y="42"/>
                  </a:lnTo>
                  <a:lnTo>
                    <a:pt x="243" y="28"/>
                  </a:lnTo>
                  <a:lnTo>
                    <a:pt x="206" y="17"/>
                  </a:lnTo>
                  <a:lnTo>
                    <a:pt x="188" y="12"/>
                  </a:lnTo>
                  <a:lnTo>
                    <a:pt x="170" y="9"/>
                  </a:lnTo>
                  <a:lnTo>
                    <a:pt x="152" y="6"/>
                  </a:lnTo>
                  <a:lnTo>
                    <a:pt x="134" y="2"/>
                  </a:lnTo>
                  <a:lnTo>
                    <a:pt x="115" y="1"/>
                  </a:lnTo>
                  <a:lnTo>
                    <a:pt x="97" y="0"/>
                  </a:lnTo>
                  <a:lnTo>
                    <a:pt x="78" y="0"/>
                  </a:lnTo>
                  <a:lnTo>
                    <a:pt x="60" y="1"/>
                  </a:lnTo>
                  <a:lnTo>
                    <a:pt x="49" y="14"/>
                  </a:lnTo>
                  <a:lnTo>
                    <a:pt x="40" y="26"/>
                  </a:lnTo>
                  <a:lnTo>
                    <a:pt x="32" y="38"/>
                  </a:lnTo>
                  <a:lnTo>
                    <a:pt x="25" y="52"/>
                  </a:lnTo>
                  <a:lnTo>
                    <a:pt x="18" y="66"/>
                  </a:lnTo>
                  <a:lnTo>
                    <a:pt x="12" y="79"/>
                  </a:lnTo>
                  <a:lnTo>
                    <a:pt x="8" y="93"/>
                  </a:lnTo>
                  <a:lnTo>
                    <a:pt x="4" y="107"/>
                  </a:lnTo>
                  <a:lnTo>
                    <a:pt x="2" y="122"/>
                  </a:lnTo>
                  <a:lnTo>
                    <a:pt x="0" y="137"/>
                  </a:lnTo>
                  <a:lnTo>
                    <a:pt x="0" y="152"/>
                  </a:lnTo>
                  <a:lnTo>
                    <a:pt x="0" y="168"/>
                  </a:lnTo>
                  <a:lnTo>
                    <a:pt x="1" y="185"/>
                  </a:lnTo>
                  <a:lnTo>
                    <a:pt x="3" y="202"/>
                  </a:lnTo>
                  <a:lnTo>
                    <a:pt x="5" y="220"/>
                  </a:lnTo>
                  <a:lnTo>
                    <a:pt x="10" y="2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prstClr val="black"/>
                </a:solidFill>
                <a:latin typeface="Calibri"/>
              </a:endParaRPr>
            </a:p>
          </p:txBody>
        </p:sp>
      </p:grpSp>
      <p:sp>
        <p:nvSpPr>
          <p:cNvPr id="34" name="Freeform 32"/>
          <p:cNvSpPr>
            <a:spLocks noEditPoints="1"/>
          </p:cNvSpPr>
          <p:nvPr/>
        </p:nvSpPr>
        <p:spPr bwMode="auto">
          <a:xfrm>
            <a:off x="4224530" y="3481816"/>
            <a:ext cx="933041" cy="450744"/>
          </a:xfrm>
          <a:custGeom>
            <a:avLst/>
            <a:gdLst>
              <a:gd name="T0" fmla="*/ 665 w 1308"/>
              <a:gd name="T1" fmla="*/ 189 h 664"/>
              <a:gd name="T2" fmla="*/ 641 w 1308"/>
              <a:gd name="T3" fmla="*/ 297 h 664"/>
              <a:gd name="T4" fmla="*/ 613 w 1308"/>
              <a:gd name="T5" fmla="*/ 367 h 664"/>
              <a:gd name="T6" fmla="*/ 602 w 1308"/>
              <a:gd name="T7" fmla="*/ 287 h 664"/>
              <a:gd name="T8" fmla="*/ 658 w 1308"/>
              <a:gd name="T9" fmla="*/ 160 h 664"/>
              <a:gd name="T10" fmla="*/ 753 w 1308"/>
              <a:gd name="T11" fmla="*/ 203 h 664"/>
              <a:gd name="T12" fmla="*/ 744 w 1308"/>
              <a:gd name="T13" fmla="*/ 223 h 664"/>
              <a:gd name="T14" fmla="*/ 737 w 1308"/>
              <a:gd name="T15" fmla="*/ 287 h 664"/>
              <a:gd name="T16" fmla="*/ 722 w 1308"/>
              <a:gd name="T17" fmla="*/ 463 h 664"/>
              <a:gd name="T18" fmla="*/ 704 w 1308"/>
              <a:gd name="T19" fmla="*/ 182 h 664"/>
              <a:gd name="T20" fmla="*/ 219 w 1308"/>
              <a:gd name="T21" fmla="*/ 415 h 664"/>
              <a:gd name="T22" fmla="*/ 154 w 1308"/>
              <a:gd name="T23" fmla="*/ 259 h 664"/>
              <a:gd name="T24" fmla="*/ 135 w 1308"/>
              <a:gd name="T25" fmla="*/ 378 h 664"/>
              <a:gd name="T26" fmla="*/ 93 w 1308"/>
              <a:gd name="T27" fmla="*/ 569 h 664"/>
              <a:gd name="T28" fmla="*/ 1 w 1308"/>
              <a:gd name="T29" fmla="*/ 618 h 664"/>
              <a:gd name="T30" fmla="*/ 32 w 1308"/>
              <a:gd name="T31" fmla="*/ 636 h 664"/>
              <a:gd name="T32" fmla="*/ 372 w 1308"/>
              <a:gd name="T33" fmla="*/ 621 h 664"/>
              <a:gd name="T34" fmla="*/ 870 w 1308"/>
              <a:gd name="T35" fmla="*/ 632 h 664"/>
              <a:gd name="T36" fmla="*/ 1285 w 1308"/>
              <a:gd name="T37" fmla="*/ 664 h 664"/>
              <a:gd name="T38" fmla="*/ 1303 w 1308"/>
              <a:gd name="T39" fmla="*/ 652 h 664"/>
              <a:gd name="T40" fmla="*/ 1199 w 1308"/>
              <a:gd name="T41" fmla="*/ 594 h 664"/>
              <a:gd name="T42" fmla="*/ 1165 w 1308"/>
              <a:gd name="T43" fmla="*/ 418 h 664"/>
              <a:gd name="T44" fmla="*/ 1077 w 1308"/>
              <a:gd name="T45" fmla="*/ 247 h 664"/>
              <a:gd name="T46" fmla="*/ 937 w 1308"/>
              <a:gd name="T47" fmla="*/ 157 h 664"/>
              <a:gd name="T48" fmla="*/ 787 w 1308"/>
              <a:gd name="T49" fmla="*/ 89 h 664"/>
              <a:gd name="T50" fmla="*/ 700 w 1308"/>
              <a:gd name="T51" fmla="*/ 83 h 664"/>
              <a:gd name="T52" fmla="*/ 779 w 1308"/>
              <a:gd name="T53" fmla="*/ 128 h 664"/>
              <a:gd name="T54" fmla="*/ 736 w 1308"/>
              <a:gd name="T55" fmla="*/ 150 h 664"/>
              <a:gd name="T56" fmla="*/ 676 w 1308"/>
              <a:gd name="T57" fmla="*/ 121 h 664"/>
              <a:gd name="T58" fmla="*/ 609 w 1308"/>
              <a:gd name="T59" fmla="*/ 175 h 664"/>
              <a:gd name="T60" fmla="*/ 590 w 1308"/>
              <a:gd name="T61" fmla="*/ 57 h 664"/>
              <a:gd name="T62" fmla="*/ 562 w 1308"/>
              <a:gd name="T63" fmla="*/ 27 h 664"/>
              <a:gd name="T64" fmla="*/ 514 w 1308"/>
              <a:gd name="T65" fmla="*/ 162 h 664"/>
              <a:gd name="T66" fmla="*/ 518 w 1308"/>
              <a:gd name="T67" fmla="*/ 288 h 664"/>
              <a:gd name="T68" fmla="*/ 495 w 1308"/>
              <a:gd name="T69" fmla="*/ 345 h 664"/>
              <a:gd name="T70" fmla="*/ 477 w 1308"/>
              <a:gd name="T71" fmla="*/ 225 h 664"/>
              <a:gd name="T72" fmla="*/ 501 w 1308"/>
              <a:gd name="T73" fmla="*/ 76 h 664"/>
              <a:gd name="T74" fmla="*/ 442 w 1308"/>
              <a:gd name="T75" fmla="*/ 113 h 664"/>
              <a:gd name="T76" fmla="*/ 406 w 1308"/>
              <a:gd name="T77" fmla="*/ 234 h 664"/>
              <a:gd name="T78" fmla="*/ 361 w 1308"/>
              <a:gd name="T79" fmla="*/ 156 h 664"/>
              <a:gd name="T80" fmla="*/ 242 w 1308"/>
              <a:gd name="T81" fmla="*/ 6 h 664"/>
              <a:gd name="T82" fmla="*/ 241 w 1308"/>
              <a:gd name="T83" fmla="*/ 57 h 664"/>
              <a:gd name="T84" fmla="*/ 358 w 1308"/>
              <a:gd name="T85" fmla="*/ 328 h 664"/>
              <a:gd name="T86" fmla="*/ 331 w 1308"/>
              <a:gd name="T87" fmla="*/ 287 h 664"/>
              <a:gd name="T88" fmla="*/ 231 w 1308"/>
              <a:gd name="T89" fmla="*/ 125 h 664"/>
              <a:gd name="T90" fmla="*/ 186 w 1308"/>
              <a:gd name="T91" fmla="*/ 90 h 664"/>
              <a:gd name="T92" fmla="*/ 187 w 1308"/>
              <a:gd name="T93" fmla="*/ 201 h 664"/>
              <a:gd name="T94" fmla="*/ 284 w 1308"/>
              <a:gd name="T95" fmla="*/ 449 h 664"/>
              <a:gd name="T96" fmla="*/ 1041 w 1308"/>
              <a:gd name="T97" fmla="*/ 444 h 664"/>
              <a:gd name="T98" fmla="*/ 995 w 1308"/>
              <a:gd name="T99" fmla="*/ 281 h 664"/>
              <a:gd name="T100" fmla="*/ 1006 w 1308"/>
              <a:gd name="T101" fmla="*/ 238 h 664"/>
              <a:gd name="T102" fmla="*/ 1082 w 1308"/>
              <a:gd name="T103" fmla="*/ 365 h 664"/>
              <a:gd name="T104" fmla="*/ 551 w 1308"/>
              <a:gd name="T105" fmla="*/ 495 h 664"/>
              <a:gd name="T106" fmla="*/ 551 w 1308"/>
              <a:gd name="T107" fmla="*/ 434 h 664"/>
              <a:gd name="T108" fmla="*/ 551 w 1308"/>
              <a:gd name="T109" fmla="*/ 495 h 664"/>
              <a:gd name="T110" fmla="*/ 816 w 1308"/>
              <a:gd name="T111" fmla="*/ 153 h 664"/>
              <a:gd name="T112" fmla="*/ 878 w 1308"/>
              <a:gd name="T113" fmla="*/ 244 h 664"/>
              <a:gd name="T114" fmla="*/ 828 w 1308"/>
              <a:gd name="T115" fmla="*/ 197 h 664"/>
              <a:gd name="T116" fmla="*/ 869 w 1308"/>
              <a:gd name="T117" fmla="*/ 343 h 664"/>
              <a:gd name="T118" fmla="*/ 854 w 1308"/>
              <a:gd name="T119" fmla="*/ 408 h 664"/>
              <a:gd name="T120" fmla="*/ 362 w 1308"/>
              <a:gd name="T121" fmla="*/ 360 h 664"/>
              <a:gd name="T122" fmla="*/ 367 w 1308"/>
              <a:gd name="T123" fmla="*/ 360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08" h="664">
                <a:moveTo>
                  <a:pt x="699" y="171"/>
                </a:moveTo>
                <a:lnTo>
                  <a:pt x="695" y="172"/>
                </a:lnTo>
                <a:lnTo>
                  <a:pt x="693" y="173"/>
                </a:lnTo>
                <a:lnTo>
                  <a:pt x="691" y="174"/>
                </a:lnTo>
                <a:lnTo>
                  <a:pt x="688" y="175"/>
                </a:lnTo>
                <a:lnTo>
                  <a:pt x="676" y="181"/>
                </a:lnTo>
                <a:lnTo>
                  <a:pt x="668" y="185"/>
                </a:lnTo>
                <a:lnTo>
                  <a:pt x="665" y="189"/>
                </a:lnTo>
                <a:lnTo>
                  <a:pt x="662" y="191"/>
                </a:lnTo>
                <a:lnTo>
                  <a:pt x="660" y="194"/>
                </a:lnTo>
                <a:lnTo>
                  <a:pt x="658" y="198"/>
                </a:lnTo>
                <a:lnTo>
                  <a:pt x="654" y="208"/>
                </a:lnTo>
                <a:lnTo>
                  <a:pt x="652" y="221"/>
                </a:lnTo>
                <a:lnTo>
                  <a:pt x="650" y="240"/>
                </a:lnTo>
                <a:lnTo>
                  <a:pt x="647" y="264"/>
                </a:lnTo>
                <a:lnTo>
                  <a:pt x="641" y="297"/>
                </a:lnTo>
                <a:lnTo>
                  <a:pt x="639" y="329"/>
                </a:lnTo>
                <a:lnTo>
                  <a:pt x="636" y="362"/>
                </a:lnTo>
                <a:lnTo>
                  <a:pt x="636" y="397"/>
                </a:lnTo>
                <a:lnTo>
                  <a:pt x="632" y="393"/>
                </a:lnTo>
                <a:lnTo>
                  <a:pt x="627" y="390"/>
                </a:lnTo>
                <a:lnTo>
                  <a:pt x="624" y="385"/>
                </a:lnTo>
                <a:lnTo>
                  <a:pt x="619" y="380"/>
                </a:lnTo>
                <a:lnTo>
                  <a:pt x="613" y="367"/>
                </a:lnTo>
                <a:lnTo>
                  <a:pt x="607" y="354"/>
                </a:lnTo>
                <a:lnTo>
                  <a:pt x="602" y="340"/>
                </a:lnTo>
                <a:lnTo>
                  <a:pt x="600" y="329"/>
                </a:lnTo>
                <a:lnTo>
                  <a:pt x="598" y="319"/>
                </a:lnTo>
                <a:lnTo>
                  <a:pt x="597" y="312"/>
                </a:lnTo>
                <a:lnTo>
                  <a:pt x="598" y="304"/>
                </a:lnTo>
                <a:lnTo>
                  <a:pt x="599" y="296"/>
                </a:lnTo>
                <a:lnTo>
                  <a:pt x="602" y="287"/>
                </a:lnTo>
                <a:lnTo>
                  <a:pt x="606" y="278"/>
                </a:lnTo>
                <a:lnTo>
                  <a:pt x="616" y="256"/>
                </a:lnTo>
                <a:lnTo>
                  <a:pt x="626" y="234"/>
                </a:lnTo>
                <a:lnTo>
                  <a:pt x="638" y="211"/>
                </a:lnTo>
                <a:lnTo>
                  <a:pt x="648" y="189"/>
                </a:lnTo>
                <a:lnTo>
                  <a:pt x="652" y="179"/>
                </a:lnTo>
                <a:lnTo>
                  <a:pt x="656" y="170"/>
                </a:lnTo>
                <a:lnTo>
                  <a:pt x="658" y="160"/>
                </a:lnTo>
                <a:lnTo>
                  <a:pt x="660" y="153"/>
                </a:lnTo>
                <a:lnTo>
                  <a:pt x="671" y="156"/>
                </a:lnTo>
                <a:lnTo>
                  <a:pt x="686" y="162"/>
                </a:lnTo>
                <a:lnTo>
                  <a:pt x="703" y="170"/>
                </a:lnTo>
                <a:lnTo>
                  <a:pt x="720" y="179"/>
                </a:lnTo>
                <a:lnTo>
                  <a:pt x="736" y="189"/>
                </a:lnTo>
                <a:lnTo>
                  <a:pt x="748" y="198"/>
                </a:lnTo>
                <a:lnTo>
                  <a:pt x="753" y="203"/>
                </a:lnTo>
                <a:lnTo>
                  <a:pt x="755" y="208"/>
                </a:lnTo>
                <a:lnTo>
                  <a:pt x="756" y="212"/>
                </a:lnTo>
                <a:lnTo>
                  <a:pt x="756" y="216"/>
                </a:lnTo>
                <a:lnTo>
                  <a:pt x="752" y="224"/>
                </a:lnTo>
                <a:lnTo>
                  <a:pt x="749" y="227"/>
                </a:lnTo>
                <a:lnTo>
                  <a:pt x="747" y="227"/>
                </a:lnTo>
                <a:lnTo>
                  <a:pt x="746" y="225"/>
                </a:lnTo>
                <a:lnTo>
                  <a:pt x="744" y="223"/>
                </a:lnTo>
                <a:lnTo>
                  <a:pt x="741" y="220"/>
                </a:lnTo>
                <a:lnTo>
                  <a:pt x="739" y="219"/>
                </a:lnTo>
                <a:lnTo>
                  <a:pt x="737" y="219"/>
                </a:lnTo>
                <a:lnTo>
                  <a:pt x="734" y="219"/>
                </a:lnTo>
                <a:lnTo>
                  <a:pt x="730" y="220"/>
                </a:lnTo>
                <a:lnTo>
                  <a:pt x="731" y="243"/>
                </a:lnTo>
                <a:lnTo>
                  <a:pt x="734" y="264"/>
                </a:lnTo>
                <a:lnTo>
                  <a:pt x="737" y="287"/>
                </a:lnTo>
                <a:lnTo>
                  <a:pt x="741" y="308"/>
                </a:lnTo>
                <a:lnTo>
                  <a:pt x="746" y="330"/>
                </a:lnTo>
                <a:lnTo>
                  <a:pt x="749" y="354"/>
                </a:lnTo>
                <a:lnTo>
                  <a:pt x="753" y="377"/>
                </a:lnTo>
                <a:lnTo>
                  <a:pt x="754" y="403"/>
                </a:lnTo>
                <a:lnTo>
                  <a:pt x="754" y="495"/>
                </a:lnTo>
                <a:lnTo>
                  <a:pt x="722" y="495"/>
                </a:lnTo>
                <a:lnTo>
                  <a:pt x="722" y="463"/>
                </a:lnTo>
                <a:lnTo>
                  <a:pt x="722" y="423"/>
                </a:lnTo>
                <a:lnTo>
                  <a:pt x="722" y="375"/>
                </a:lnTo>
                <a:lnTo>
                  <a:pt x="721" y="325"/>
                </a:lnTo>
                <a:lnTo>
                  <a:pt x="719" y="277"/>
                </a:lnTo>
                <a:lnTo>
                  <a:pt x="715" y="233"/>
                </a:lnTo>
                <a:lnTo>
                  <a:pt x="712" y="214"/>
                </a:lnTo>
                <a:lnTo>
                  <a:pt x="709" y="195"/>
                </a:lnTo>
                <a:lnTo>
                  <a:pt x="704" y="182"/>
                </a:lnTo>
                <a:lnTo>
                  <a:pt x="699" y="171"/>
                </a:lnTo>
                <a:close/>
                <a:moveTo>
                  <a:pt x="287" y="467"/>
                </a:moveTo>
                <a:lnTo>
                  <a:pt x="279" y="481"/>
                </a:lnTo>
                <a:lnTo>
                  <a:pt x="271" y="495"/>
                </a:lnTo>
                <a:lnTo>
                  <a:pt x="230" y="495"/>
                </a:lnTo>
                <a:lnTo>
                  <a:pt x="229" y="471"/>
                </a:lnTo>
                <a:lnTo>
                  <a:pt x="225" y="444"/>
                </a:lnTo>
                <a:lnTo>
                  <a:pt x="219" y="415"/>
                </a:lnTo>
                <a:lnTo>
                  <a:pt x="212" y="382"/>
                </a:lnTo>
                <a:lnTo>
                  <a:pt x="203" y="349"/>
                </a:lnTo>
                <a:lnTo>
                  <a:pt x="192" y="315"/>
                </a:lnTo>
                <a:lnTo>
                  <a:pt x="180" y="280"/>
                </a:lnTo>
                <a:lnTo>
                  <a:pt x="167" y="247"/>
                </a:lnTo>
                <a:lnTo>
                  <a:pt x="163" y="251"/>
                </a:lnTo>
                <a:lnTo>
                  <a:pt x="158" y="254"/>
                </a:lnTo>
                <a:lnTo>
                  <a:pt x="154" y="259"/>
                </a:lnTo>
                <a:lnTo>
                  <a:pt x="151" y="264"/>
                </a:lnTo>
                <a:lnTo>
                  <a:pt x="144" y="276"/>
                </a:lnTo>
                <a:lnTo>
                  <a:pt x="139" y="288"/>
                </a:lnTo>
                <a:lnTo>
                  <a:pt x="136" y="303"/>
                </a:lnTo>
                <a:lnTo>
                  <a:pt x="135" y="320"/>
                </a:lnTo>
                <a:lnTo>
                  <a:pt x="134" y="338"/>
                </a:lnTo>
                <a:lnTo>
                  <a:pt x="134" y="358"/>
                </a:lnTo>
                <a:lnTo>
                  <a:pt x="135" y="378"/>
                </a:lnTo>
                <a:lnTo>
                  <a:pt x="137" y="401"/>
                </a:lnTo>
                <a:lnTo>
                  <a:pt x="140" y="424"/>
                </a:lnTo>
                <a:lnTo>
                  <a:pt x="144" y="447"/>
                </a:lnTo>
                <a:lnTo>
                  <a:pt x="154" y="498"/>
                </a:lnTo>
                <a:lnTo>
                  <a:pt x="165" y="551"/>
                </a:lnTo>
                <a:lnTo>
                  <a:pt x="144" y="556"/>
                </a:lnTo>
                <a:lnTo>
                  <a:pt x="119" y="562"/>
                </a:lnTo>
                <a:lnTo>
                  <a:pt x="93" y="569"/>
                </a:lnTo>
                <a:lnTo>
                  <a:pt x="64" y="580"/>
                </a:lnTo>
                <a:lnTo>
                  <a:pt x="43" y="589"/>
                </a:lnTo>
                <a:lnTo>
                  <a:pt x="27" y="597"/>
                </a:lnTo>
                <a:lnTo>
                  <a:pt x="15" y="603"/>
                </a:lnTo>
                <a:lnTo>
                  <a:pt x="7" y="610"/>
                </a:lnTo>
                <a:lnTo>
                  <a:pt x="5" y="613"/>
                </a:lnTo>
                <a:lnTo>
                  <a:pt x="3" y="616"/>
                </a:lnTo>
                <a:lnTo>
                  <a:pt x="1" y="618"/>
                </a:lnTo>
                <a:lnTo>
                  <a:pt x="0" y="620"/>
                </a:lnTo>
                <a:lnTo>
                  <a:pt x="1" y="623"/>
                </a:lnTo>
                <a:lnTo>
                  <a:pt x="1" y="625"/>
                </a:lnTo>
                <a:lnTo>
                  <a:pt x="4" y="627"/>
                </a:lnTo>
                <a:lnTo>
                  <a:pt x="6" y="629"/>
                </a:lnTo>
                <a:lnTo>
                  <a:pt x="13" y="632"/>
                </a:lnTo>
                <a:lnTo>
                  <a:pt x="22" y="635"/>
                </a:lnTo>
                <a:lnTo>
                  <a:pt x="32" y="636"/>
                </a:lnTo>
                <a:lnTo>
                  <a:pt x="44" y="638"/>
                </a:lnTo>
                <a:lnTo>
                  <a:pt x="75" y="639"/>
                </a:lnTo>
                <a:lnTo>
                  <a:pt x="108" y="639"/>
                </a:lnTo>
                <a:lnTo>
                  <a:pt x="162" y="637"/>
                </a:lnTo>
                <a:lnTo>
                  <a:pt x="212" y="634"/>
                </a:lnTo>
                <a:lnTo>
                  <a:pt x="259" y="629"/>
                </a:lnTo>
                <a:lnTo>
                  <a:pt x="311" y="625"/>
                </a:lnTo>
                <a:lnTo>
                  <a:pt x="372" y="621"/>
                </a:lnTo>
                <a:lnTo>
                  <a:pt x="447" y="618"/>
                </a:lnTo>
                <a:lnTo>
                  <a:pt x="491" y="617"/>
                </a:lnTo>
                <a:lnTo>
                  <a:pt x="539" y="617"/>
                </a:lnTo>
                <a:lnTo>
                  <a:pt x="593" y="617"/>
                </a:lnTo>
                <a:lnTo>
                  <a:pt x="654" y="618"/>
                </a:lnTo>
                <a:lnTo>
                  <a:pt x="728" y="621"/>
                </a:lnTo>
                <a:lnTo>
                  <a:pt x="800" y="626"/>
                </a:lnTo>
                <a:lnTo>
                  <a:pt x="870" y="632"/>
                </a:lnTo>
                <a:lnTo>
                  <a:pt x="939" y="637"/>
                </a:lnTo>
                <a:lnTo>
                  <a:pt x="1008" y="644"/>
                </a:lnTo>
                <a:lnTo>
                  <a:pt x="1076" y="651"/>
                </a:lnTo>
                <a:lnTo>
                  <a:pt x="1145" y="656"/>
                </a:lnTo>
                <a:lnTo>
                  <a:pt x="1215" y="661"/>
                </a:lnTo>
                <a:lnTo>
                  <a:pt x="1248" y="663"/>
                </a:lnTo>
                <a:lnTo>
                  <a:pt x="1275" y="664"/>
                </a:lnTo>
                <a:lnTo>
                  <a:pt x="1285" y="664"/>
                </a:lnTo>
                <a:lnTo>
                  <a:pt x="1294" y="663"/>
                </a:lnTo>
                <a:lnTo>
                  <a:pt x="1301" y="662"/>
                </a:lnTo>
                <a:lnTo>
                  <a:pt x="1305" y="661"/>
                </a:lnTo>
                <a:lnTo>
                  <a:pt x="1306" y="660"/>
                </a:lnTo>
                <a:lnTo>
                  <a:pt x="1308" y="659"/>
                </a:lnTo>
                <a:lnTo>
                  <a:pt x="1308" y="658"/>
                </a:lnTo>
                <a:lnTo>
                  <a:pt x="1306" y="655"/>
                </a:lnTo>
                <a:lnTo>
                  <a:pt x="1303" y="652"/>
                </a:lnTo>
                <a:lnTo>
                  <a:pt x="1297" y="646"/>
                </a:lnTo>
                <a:lnTo>
                  <a:pt x="1287" y="641"/>
                </a:lnTo>
                <a:lnTo>
                  <a:pt x="1275" y="634"/>
                </a:lnTo>
                <a:lnTo>
                  <a:pt x="1259" y="626"/>
                </a:lnTo>
                <a:lnTo>
                  <a:pt x="1240" y="616"/>
                </a:lnTo>
                <a:lnTo>
                  <a:pt x="1219" y="607"/>
                </a:lnTo>
                <a:lnTo>
                  <a:pt x="1206" y="600"/>
                </a:lnTo>
                <a:lnTo>
                  <a:pt x="1199" y="594"/>
                </a:lnTo>
                <a:lnTo>
                  <a:pt x="1192" y="586"/>
                </a:lnTo>
                <a:lnTo>
                  <a:pt x="1186" y="576"/>
                </a:lnTo>
                <a:lnTo>
                  <a:pt x="1178" y="562"/>
                </a:lnTo>
                <a:lnTo>
                  <a:pt x="1192" y="562"/>
                </a:lnTo>
                <a:lnTo>
                  <a:pt x="1183" y="513"/>
                </a:lnTo>
                <a:lnTo>
                  <a:pt x="1175" y="464"/>
                </a:lnTo>
                <a:lnTo>
                  <a:pt x="1171" y="442"/>
                </a:lnTo>
                <a:lnTo>
                  <a:pt x="1165" y="418"/>
                </a:lnTo>
                <a:lnTo>
                  <a:pt x="1160" y="395"/>
                </a:lnTo>
                <a:lnTo>
                  <a:pt x="1153" y="373"/>
                </a:lnTo>
                <a:lnTo>
                  <a:pt x="1144" y="351"/>
                </a:lnTo>
                <a:lnTo>
                  <a:pt x="1135" y="330"/>
                </a:lnTo>
                <a:lnTo>
                  <a:pt x="1123" y="308"/>
                </a:lnTo>
                <a:lnTo>
                  <a:pt x="1110" y="287"/>
                </a:lnTo>
                <a:lnTo>
                  <a:pt x="1095" y="267"/>
                </a:lnTo>
                <a:lnTo>
                  <a:pt x="1077" y="247"/>
                </a:lnTo>
                <a:lnTo>
                  <a:pt x="1057" y="228"/>
                </a:lnTo>
                <a:lnTo>
                  <a:pt x="1033" y="209"/>
                </a:lnTo>
                <a:lnTo>
                  <a:pt x="1001" y="185"/>
                </a:lnTo>
                <a:lnTo>
                  <a:pt x="997" y="182"/>
                </a:lnTo>
                <a:lnTo>
                  <a:pt x="993" y="180"/>
                </a:lnTo>
                <a:lnTo>
                  <a:pt x="984" y="174"/>
                </a:lnTo>
                <a:lnTo>
                  <a:pt x="974" y="170"/>
                </a:lnTo>
                <a:lnTo>
                  <a:pt x="937" y="157"/>
                </a:lnTo>
                <a:lnTo>
                  <a:pt x="903" y="146"/>
                </a:lnTo>
                <a:lnTo>
                  <a:pt x="886" y="139"/>
                </a:lnTo>
                <a:lnTo>
                  <a:pt x="869" y="132"/>
                </a:lnTo>
                <a:lnTo>
                  <a:pt x="852" y="124"/>
                </a:lnTo>
                <a:lnTo>
                  <a:pt x="834" y="114"/>
                </a:lnTo>
                <a:lnTo>
                  <a:pt x="819" y="106"/>
                </a:lnTo>
                <a:lnTo>
                  <a:pt x="804" y="97"/>
                </a:lnTo>
                <a:lnTo>
                  <a:pt x="787" y="89"/>
                </a:lnTo>
                <a:lnTo>
                  <a:pt x="769" y="83"/>
                </a:lnTo>
                <a:lnTo>
                  <a:pt x="748" y="76"/>
                </a:lnTo>
                <a:lnTo>
                  <a:pt x="728" y="71"/>
                </a:lnTo>
                <a:lnTo>
                  <a:pt x="706" y="68"/>
                </a:lnTo>
                <a:lnTo>
                  <a:pt x="683" y="68"/>
                </a:lnTo>
                <a:lnTo>
                  <a:pt x="688" y="72"/>
                </a:lnTo>
                <a:lnTo>
                  <a:pt x="694" y="78"/>
                </a:lnTo>
                <a:lnTo>
                  <a:pt x="700" y="83"/>
                </a:lnTo>
                <a:lnTo>
                  <a:pt x="705" y="86"/>
                </a:lnTo>
                <a:lnTo>
                  <a:pt x="719" y="93"/>
                </a:lnTo>
                <a:lnTo>
                  <a:pt x="731" y="98"/>
                </a:lnTo>
                <a:lnTo>
                  <a:pt x="745" y="104"/>
                </a:lnTo>
                <a:lnTo>
                  <a:pt x="758" y="112"/>
                </a:lnTo>
                <a:lnTo>
                  <a:pt x="765" y="116"/>
                </a:lnTo>
                <a:lnTo>
                  <a:pt x="772" y="122"/>
                </a:lnTo>
                <a:lnTo>
                  <a:pt x="779" y="128"/>
                </a:lnTo>
                <a:lnTo>
                  <a:pt x="784" y="134"/>
                </a:lnTo>
                <a:lnTo>
                  <a:pt x="780" y="149"/>
                </a:lnTo>
                <a:lnTo>
                  <a:pt x="776" y="165"/>
                </a:lnTo>
                <a:lnTo>
                  <a:pt x="765" y="163"/>
                </a:lnTo>
                <a:lnTo>
                  <a:pt x="757" y="160"/>
                </a:lnTo>
                <a:lnTo>
                  <a:pt x="752" y="158"/>
                </a:lnTo>
                <a:lnTo>
                  <a:pt x="746" y="155"/>
                </a:lnTo>
                <a:lnTo>
                  <a:pt x="736" y="150"/>
                </a:lnTo>
                <a:lnTo>
                  <a:pt x="719" y="144"/>
                </a:lnTo>
                <a:lnTo>
                  <a:pt x="693" y="137"/>
                </a:lnTo>
                <a:lnTo>
                  <a:pt x="680" y="134"/>
                </a:lnTo>
                <a:lnTo>
                  <a:pt x="679" y="133"/>
                </a:lnTo>
                <a:lnTo>
                  <a:pt x="678" y="132"/>
                </a:lnTo>
                <a:lnTo>
                  <a:pt x="677" y="131"/>
                </a:lnTo>
                <a:lnTo>
                  <a:pt x="676" y="128"/>
                </a:lnTo>
                <a:lnTo>
                  <a:pt x="676" y="121"/>
                </a:lnTo>
                <a:lnTo>
                  <a:pt x="675" y="110"/>
                </a:lnTo>
                <a:lnTo>
                  <a:pt x="664" y="113"/>
                </a:lnTo>
                <a:lnTo>
                  <a:pt x="654" y="118"/>
                </a:lnTo>
                <a:lnTo>
                  <a:pt x="647" y="123"/>
                </a:lnTo>
                <a:lnTo>
                  <a:pt x="641" y="129"/>
                </a:lnTo>
                <a:lnTo>
                  <a:pt x="631" y="144"/>
                </a:lnTo>
                <a:lnTo>
                  <a:pt x="621" y="159"/>
                </a:lnTo>
                <a:lnTo>
                  <a:pt x="609" y="175"/>
                </a:lnTo>
                <a:lnTo>
                  <a:pt x="598" y="190"/>
                </a:lnTo>
                <a:lnTo>
                  <a:pt x="573" y="220"/>
                </a:lnTo>
                <a:lnTo>
                  <a:pt x="574" y="189"/>
                </a:lnTo>
                <a:lnTo>
                  <a:pt x="575" y="160"/>
                </a:lnTo>
                <a:lnTo>
                  <a:pt x="577" y="133"/>
                </a:lnTo>
                <a:lnTo>
                  <a:pt x="580" y="107"/>
                </a:lnTo>
                <a:lnTo>
                  <a:pt x="584" y="83"/>
                </a:lnTo>
                <a:lnTo>
                  <a:pt x="590" y="57"/>
                </a:lnTo>
                <a:lnTo>
                  <a:pt x="597" y="29"/>
                </a:lnTo>
                <a:lnTo>
                  <a:pt x="605" y="0"/>
                </a:lnTo>
                <a:lnTo>
                  <a:pt x="597" y="2"/>
                </a:lnTo>
                <a:lnTo>
                  <a:pt x="589" y="6"/>
                </a:lnTo>
                <a:lnTo>
                  <a:pt x="581" y="10"/>
                </a:lnTo>
                <a:lnTo>
                  <a:pt x="574" y="15"/>
                </a:lnTo>
                <a:lnTo>
                  <a:pt x="569" y="20"/>
                </a:lnTo>
                <a:lnTo>
                  <a:pt x="562" y="27"/>
                </a:lnTo>
                <a:lnTo>
                  <a:pt x="556" y="34"/>
                </a:lnTo>
                <a:lnTo>
                  <a:pt x="552" y="42"/>
                </a:lnTo>
                <a:lnTo>
                  <a:pt x="541" y="59"/>
                </a:lnTo>
                <a:lnTo>
                  <a:pt x="534" y="77"/>
                </a:lnTo>
                <a:lnTo>
                  <a:pt x="527" y="97"/>
                </a:lnTo>
                <a:lnTo>
                  <a:pt x="521" y="119"/>
                </a:lnTo>
                <a:lnTo>
                  <a:pt x="518" y="140"/>
                </a:lnTo>
                <a:lnTo>
                  <a:pt x="514" y="162"/>
                </a:lnTo>
                <a:lnTo>
                  <a:pt x="512" y="182"/>
                </a:lnTo>
                <a:lnTo>
                  <a:pt x="511" y="202"/>
                </a:lnTo>
                <a:lnTo>
                  <a:pt x="511" y="221"/>
                </a:lnTo>
                <a:lnTo>
                  <a:pt x="511" y="238"/>
                </a:lnTo>
                <a:lnTo>
                  <a:pt x="512" y="254"/>
                </a:lnTo>
                <a:lnTo>
                  <a:pt x="514" y="266"/>
                </a:lnTo>
                <a:lnTo>
                  <a:pt x="517" y="277"/>
                </a:lnTo>
                <a:lnTo>
                  <a:pt x="518" y="288"/>
                </a:lnTo>
                <a:lnTo>
                  <a:pt x="518" y="299"/>
                </a:lnTo>
                <a:lnTo>
                  <a:pt x="518" y="310"/>
                </a:lnTo>
                <a:lnTo>
                  <a:pt x="515" y="321"/>
                </a:lnTo>
                <a:lnTo>
                  <a:pt x="512" y="331"/>
                </a:lnTo>
                <a:lnTo>
                  <a:pt x="508" y="342"/>
                </a:lnTo>
                <a:lnTo>
                  <a:pt x="501" y="353"/>
                </a:lnTo>
                <a:lnTo>
                  <a:pt x="495" y="360"/>
                </a:lnTo>
                <a:lnTo>
                  <a:pt x="495" y="345"/>
                </a:lnTo>
                <a:lnTo>
                  <a:pt x="494" y="330"/>
                </a:lnTo>
                <a:lnTo>
                  <a:pt x="492" y="317"/>
                </a:lnTo>
                <a:lnTo>
                  <a:pt x="490" y="306"/>
                </a:lnTo>
                <a:lnTo>
                  <a:pt x="485" y="284"/>
                </a:lnTo>
                <a:lnTo>
                  <a:pt x="480" y="262"/>
                </a:lnTo>
                <a:lnTo>
                  <a:pt x="478" y="251"/>
                </a:lnTo>
                <a:lnTo>
                  <a:pt x="478" y="238"/>
                </a:lnTo>
                <a:lnTo>
                  <a:pt x="477" y="225"/>
                </a:lnTo>
                <a:lnTo>
                  <a:pt x="478" y="209"/>
                </a:lnTo>
                <a:lnTo>
                  <a:pt x="479" y="192"/>
                </a:lnTo>
                <a:lnTo>
                  <a:pt x="483" y="173"/>
                </a:lnTo>
                <a:lnTo>
                  <a:pt x="487" y="151"/>
                </a:lnTo>
                <a:lnTo>
                  <a:pt x="494" y="127"/>
                </a:lnTo>
                <a:lnTo>
                  <a:pt x="497" y="107"/>
                </a:lnTo>
                <a:lnTo>
                  <a:pt x="499" y="90"/>
                </a:lnTo>
                <a:lnTo>
                  <a:pt x="501" y="76"/>
                </a:lnTo>
                <a:lnTo>
                  <a:pt x="503" y="61"/>
                </a:lnTo>
                <a:lnTo>
                  <a:pt x="491" y="64"/>
                </a:lnTo>
                <a:lnTo>
                  <a:pt x="480" y="70"/>
                </a:lnTo>
                <a:lnTo>
                  <a:pt x="470" y="77"/>
                </a:lnTo>
                <a:lnTo>
                  <a:pt x="462" y="84"/>
                </a:lnTo>
                <a:lnTo>
                  <a:pt x="454" y="93"/>
                </a:lnTo>
                <a:lnTo>
                  <a:pt x="448" y="103"/>
                </a:lnTo>
                <a:lnTo>
                  <a:pt x="442" y="113"/>
                </a:lnTo>
                <a:lnTo>
                  <a:pt x="438" y="124"/>
                </a:lnTo>
                <a:lnTo>
                  <a:pt x="430" y="147"/>
                </a:lnTo>
                <a:lnTo>
                  <a:pt x="424" y="171"/>
                </a:lnTo>
                <a:lnTo>
                  <a:pt x="418" y="192"/>
                </a:lnTo>
                <a:lnTo>
                  <a:pt x="414" y="211"/>
                </a:lnTo>
                <a:lnTo>
                  <a:pt x="412" y="218"/>
                </a:lnTo>
                <a:lnTo>
                  <a:pt x="409" y="226"/>
                </a:lnTo>
                <a:lnTo>
                  <a:pt x="406" y="234"/>
                </a:lnTo>
                <a:lnTo>
                  <a:pt x="405" y="235"/>
                </a:lnTo>
                <a:lnTo>
                  <a:pt x="404" y="235"/>
                </a:lnTo>
                <a:lnTo>
                  <a:pt x="401" y="238"/>
                </a:lnTo>
                <a:lnTo>
                  <a:pt x="398" y="228"/>
                </a:lnTo>
                <a:lnTo>
                  <a:pt x="393" y="217"/>
                </a:lnTo>
                <a:lnTo>
                  <a:pt x="387" y="203"/>
                </a:lnTo>
                <a:lnTo>
                  <a:pt x="379" y="189"/>
                </a:lnTo>
                <a:lnTo>
                  <a:pt x="361" y="156"/>
                </a:lnTo>
                <a:lnTo>
                  <a:pt x="339" y="121"/>
                </a:lnTo>
                <a:lnTo>
                  <a:pt x="317" y="87"/>
                </a:lnTo>
                <a:lnTo>
                  <a:pt x="293" y="55"/>
                </a:lnTo>
                <a:lnTo>
                  <a:pt x="280" y="41"/>
                </a:lnTo>
                <a:lnTo>
                  <a:pt x="269" y="28"/>
                </a:lnTo>
                <a:lnTo>
                  <a:pt x="258" y="18"/>
                </a:lnTo>
                <a:lnTo>
                  <a:pt x="248" y="10"/>
                </a:lnTo>
                <a:lnTo>
                  <a:pt x="242" y="6"/>
                </a:lnTo>
                <a:lnTo>
                  <a:pt x="241" y="3"/>
                </a:lnTo>
                <a:lnTo>
                  <a:pt x="238" y="2"/>
                </a:lnTo>
                <a:lnTo>
                  <a:pt x="230" y="0"/>
                </a:lnTo>
                <a:lnTo>
                  <a:pt x="230" y="9"/>
                </a:lnTo>
                <a:lnTo>
                  <a:pt x="231" y="17"/>
                </a:lnTo>
                <a:lnTo>
                  <a:pt x="232" y="27"/>
                </a:lnTo>
                <a:lnTo>
                  <a:pt x="234" y="36"/>
                </a:lnTo>
                <a:lnTo>
                  <a:pt x="241" y="57"/>
                </a:lnTo>
                <a:lnTo>
                  <a:pt x="249" y="77"/>
                </a:lnTo>
                <a:lnTo>
                  <a:pt x="268" y="122"/>
                </a:lnTo>
                <a:lnTo>
                  <a:pt x="292" y="168"/>
                </a:lnTo>
                <a:lnTo>
                  <a:pt x="316" y="216"/>
                </a:lnTo>
                <a:lnTo>
                  <a:pt x="337" y="262"/>
                </a:lnTo>
                <a:lnTo>
                  <a:pt x="346" y="285"/>
                </a:lnTo>
                <a:lnTo>
                  <a:pt x="354" y="307"/>
                </a:lnTo>
                <a:lnTo>
                  <a:pt x="358" y="328"/>
                </a:lnTo>
                <a:lnTo>
                  <a:pt x="362" y="348"/>
                </a:lnTo>
                <a:lnTo>
                  <a:pt x="361" y="346"/>
                </a:lnTo>
                <a:lnTo>
                  <a:pt x="360" y="343"/>
                </a:lnTo>
                <a:lnTo>
                  <a:pt x="358" y="342"/>
                </a:lnTo>
                <a:lnTo>
                  <a:pt x="356" y="340"/>
                </a:lnTo>
                <a:lnTo>
                  <a:pt x="341" y="310"/>
                </a:lnTo>
                <a:lnTo>
                  <a:pt x="336" y="297"/>
                </a:lnTo>
                <a:lnTo>
                  <a:pt x="331" y="287"/>
                </a:lnTo>
                <a:lnTo>
                  <a:pt x="327" y="277"/>
                </a:lnTo>
                <a:lnTo>
                  <a:pt x="320" y="266"/>
                </a:lnTo>
                <a:lnTo>
                  <a:pt x="310" y="247"/>
                </a:lnTo>
                <a:lnTo>
                  <a:pt x="297" y="225"/>
                </a:lnTo>
                <a:lnTo>
                  <a:pt x="283" y="200"/>
                </a:lnTo>
                <a:lnTo>
                  <a:pt x="266" y="173"/>
                </a:lnTo>
                <a:lnTo>
                  <a:pt x="248" y="148"/>
                </a:lnTo>
                <a:lnTo>
                  <a:pt x="231" y="125"/>
                </a:lnTo>
                <a:lnTo>
                  <a:pt x="222" y="115"/>
                </a:lnTo>
                <a:lnTo>
                  <a:pt x="213" y="106"/>
                </a:lnTo>
                <a:lnTo>
                  <a:pt x="205" y="99"/>
                </a:lnTo>
                <a:lnTo>
                  <a:pt x="196" y="94"/>
                </a:lnTo>
                <a:lnTo>
                  <a:pt x="186" y="88"/>
                </a:lnTo>
                <a:lnTo>
                  <a:pt x="186" y="89"/>
                </a:lnTo>
                <a:lnTo>
                  <a:pt x="187" y="89"/>
                </a:lnTo>
                <a:lnTo>
                  <a:pt x="186" y="90"/>
                </a:lnTo>
                <a:lnTo>
                  <a:pt x="183" y="89"/>
                </a:lnTo>
                <a:lnTo>
                  <a:pt x="177" y="87"/>
                </a:lnTo>
                <a:lnTo>
                  <a:pt x="172" y="85"/>
                </a:lnTo>
                <a:lnTo>
                  <a:pt x="167" y="83"/>
                </a:lnTo>
                <a:lnTo>
                  <a:pt x="167" y="158"/>
                </a:lnTo>
                <a:lnTo>
                  <a:pt x="170" y="163"/>
                </a:lnTo>
                <a:lnTo>
                  <a:pt x="172" y="167"/>
                </a:lnTo>
                <a:lnTo>
                  <a:pt x="187" y="201"/>
                </a:lnTo>
                <a:lnTo>
                  <a:pt x="204" y="237"/>
                </a:lnTo>
                <a:lnTo>
                  <a:pt x="221" y="275"/>
                </a:lnTo>
                <a:lnTo>
                  <a:pt x="238" y="314"/>
                </a:lnTo>
                <a:lnTo>
                  <a:pt x="253" y="354"/>
                </a:lnTo>
                <a:lnTo>
                  <a:pt x="267" y="392"/>
                </a:lnTo>
                <a:lnTo>
                  <a:pt x="274" y="411"/>
                </a:lnTo>
                <a:lnTo>
                  <a:pt x="279" y="430"/>
                </a:lnTo>
                <a:lnTo>
                  <a:pt x="284" y="449"/>
                </a:lnTo>
                <a:lnTo>
                  <a:pt x="287" y="467"/>
                </a:lnTo>
                <a:close/>
                <a:moveTo>
                  <a:pt x="1105" y="475"/>
                </a:moveTo>
                <a:lnTo>
                  <a:pt x="1089" y="477"/>
                </a:lnTo>
                <a:lnTo>
                  <a:pt x="1074" y="479"/>
                </a:lnTo>
                <a:lnTo>
                  <a:pt x="1059" y="480"/>
                </a:lnTo>
                <a:lnTo>
                  <a:pt x="1043" y="482"/>
                </a:lnTo>
                <a:lnTo>
                  <a:pt x="1042" y="462"/>
                </a:lnTo>
                <a:lnTo>
                  <a:pt x="1041" y="444"/>
                </a:lnTo>
                <a:lnTo>
                  <a:pt x="1039" y="427"/>
                </a:lnTo>
                <a:lnTo>
                  <a:pt x="1036" y="410"/>
                </a:lnTo>
                <a:lnTo>
                  <a:pt x="1030" y="378"/>
                </a:lnTo>
                <a:lnTo>
                  <a:pt x="1022" y="346"/>
                </a:lnTo>
                <a:lnTo>
                  <a:pt x="1016" y="328"/>
                </a:lnTo>
                <a:lnTo>
                  <a:pt x="1010" y="313"/>
                </a:lnTo>
                <a:lnTo>
                  <a:pt x="1002" y="298"/>
                </a:lnTo>
                <a:lnTo>
                  <a:pt x="995" y="281"/>
                </a:lnTo>
                <a:lnTo>
                  <a:pt x="987" y="267"/>
                </a:lnTo>
                <a:lnTo>
                  <a:pt x="979" y="253"/>
                </a:lnTo>
                <a:lnTo>
                  <a:pt x="978" y="245"/>
                </a:lnTo>
                <a:lnTo>
                  <a:pt x="978" y="241"/>
                </a:lnTo>
                <a:lnTo>
                  <a:pt x="980" y="234"/>
                </a:lnTo>
                <a:lnTo>
                  <a:pt x="980" y="220"/>
                </a:lnTo>
                <a:lnTo>
                  <a:pt x="993" y="228"/>
                </a:lnTo>
                <a:lnTo>
                  <a:pt x="1006" y="238"/>
                </a:lnTo>
                <a:lnTo>
                  <a:pt x="1018" y="251"/>
                </a:lnTo>
                <a:lnTo>
                  <a:pt x="1030" y="264"/>
                </a:lnTo>
                <a:lnTo>
                  <a:pt x="1040" y="279"/>
                </a:lnTo>
                <a:lnTo>
                  <a:pt x="1050" y="295"/>
                </a:lnTo>
                <a:lnTo>
                  <a:pt x="1059" y="312"/>
                </a:lnTo>
                <a:lnTo>
                  <a:pt x="1067" y="329"/>
                </a:lnTo>
                <a:lnTo>
                  <a:pt x="1075" y="347"/>
                </a:lnTo>
                <a:lnTo>
                  <a:pt x="1082" y="365"/>
                </a:lnTo>
                <a:lnTo>
                  <a:pt x="1087" y="384"/>
                </a:lnTo>
                <a:lnTo>
                  <a:pt x="1093" y="402"/>
                </a:lnTo>
                <a:lnTo>
                  <a:pt x="1097" y="421"/>
                </a:lnTo>
                <a:lnTo>
                  <a:pt x="1101" y="439"/>
                </a:lnTo>
                <a:lnTo>
                  <a:pt x="1103" y="458"/>
                </a:lnTo>
                <a:lnTo>
                  <a:pt x="1105" y="475"/>
                </a:lnTo>
                <a:close/>
                <a:moveTo>
                  <a:pt x="551" y="495"/>
                </a:moveTo>
                <a:lnTo>
                  <a:pt x="551" y="495"/>
                </a:lnTo>
                <a:lnTo>
                  <a:pt x="546" y="481"/>
                </a:lnTo>
                <a:lnTo>
                  <a:pt x="544" y="470"/>
                </a:lnTo>
                <a:lnTo>
                  <a:pt x="544" y="463"/>
                </a:lnTo>
                <a:lnTo>
                  <a:pt x="544" y="456"/>
                </a:lnTo>
                <a:lnTo>
                  <a:pt x="546" y="449"/>
                </a:lnTo>
                <a:lnTo>
                  <a:pt x="549" y="439"/>
                </a:lnTo>
                <a:lnTo>
                  <a:pt x="551" y="436"/>
                </a:lnTo>
                <a:lnTo>
                  <a:pt x="551" y="434"/>
                </a:lnTo>
                <a:lnTo>
                  <a:pt x="552" y="432"/>
                </a:lnTo>
                <a:lnTo>
                  <a:pt x="553" y="429"/>
                </a:lnTo>
                <a:lnTo>
                  <a:pt x="558" y="421"/>
                </a:lnTo>
                <a:lnTo>
                  <a:pt x="564" y="438"/>
                </a:lnTo>
                <a:lnTo>
                  <a:pt x="572" y="459"/>
                </a:lnTo>
                <a:lnTo>
                  <a:pt x="581" y="479"/>
                </a:lnTo>
                <a:lnTo>
                  <a:pt x="589" y="495"/>
                </a:lnTo>
                <a:lnTo>
                  <a:pt x="551" y="495"/>
                </a:lnTo>
                <a:close/>
                <a:moveTo>
                  <a:pt x="918" y="183"/>
                </a:moveTo>
                <a:lnTo>
                  <a:pt x="938" y="185"/>
                </a:lnTo>
                <a:lnTo>
                  <a:pt x="950" y="195"/>
                </a:lnTo>
                <a:lnTo>
                  <a:pt x="955" y="199"/>
                </a:lnTo>
                <a:lnTo>
                  <a:pt x="956" y="202"/>
                </a:lnTo>
                <a:lnTo>
                  <a:pt x="957" y="214"/>
                </a:lnTo>
                <a:lnTo>
                  <a:pt x="918" y="183"/>
                </a:lnTo>
                <a:close/>
                <a:moveTo>
                  <a:pt x="816" y="153"/>
                </a:moveTo>
                <a:lnTo>
                  <a:pt x="838" y="171"/>
                </a:lnTo>
                <a:lnTo>
                  <a:pt x="858" y="191"/>
                </a:lnTo>
                <a:lnTo>
                  <a:pt x="866" y="201"/>
                </a:lnTo>
                <a:lnTo>
                  <a:pt x="873" y="214"/>
                </a:lnTo>
                <a:lnTo>
                  <a:pt x="875" y="220"/>
                </a:lnTo>
                <a:lnTo>
                  <a:pt x="877" y="228"/>
                </a:lnTo>
                <a:lnTo>
                  <a:pt x="878" y="236"/>
                </a:lnTo>
                <a:lnTo>
                  <a:pt x="878" y="244"/>
                </a:lnTo>
                <a:lnTo>
                  <a:pt x="868" y="238"/>
                </a:lnTo>
                <a:lnTo>
                  <a:pt x="860" y="233"/>
                </a:lnTo>
                <a:lnTo>
                  <a:pt x="852" y="227"/>
                </a:lnTo>
                <a:lnTo>
                  <a:pt x="845" y="220"/>
                </a:lnTo>
                <a:lnTo>
                  <a:pt x="840" y="215"/>
                </a:lnTo>
                <a:lnTo>
                  <a:pt x="835" y="209"/>
                </a:lnTo>
                <a:lnTo>
                  <a:pt x="832" y="202"/>
                </a:lnTo>
                <a:lnTo>
                  <a:pt x="828" y="197"/>
                </a:lnTo>
                <a:lnTo>
                  <a:pt x="821" y="174"/>
                </a:lnTo>
                <a:lnTo>
                  <a:pt x="816" y="153"/>
                </a:lnTo>
                <a:close/>
                <a:moveTo>
                  <a:pt x="832" y="287"/>
                </a:moveTo>
                <a:lnTo>
                  <a:pt x="839" y="294"/>
                </a:lnTo>
                <a:lnTo>
                  <a:pt x="849" y="308"/>
                </a:lnTo>
                <a:lnTo>
                  <a:pt x="857" y="322"/>
                </a:lnTo>
                <a:lnTo>
                  <a:pt x="863" y="333"/>
                </a:lnTo>
                <a:lnTo>
                  <a:pt x="869" y="343"/>
                </a:lnTo>
                <a:lnTo>
                  <a:pt x="873" y="354"/>
                </a:lnTo>
                <a:lnTo>
                  <a:pt x="875" y="362"/>
                </a:lnTo>
                <a:lnTo>
                  <a:pt x="877" y="369"/>
                </a:lnTo>
                <a:lnTo>
                  <a:pt x="877" y="376"/>
                </a:lnTo>
                <a:lnTo>
                  <a:pt x="875" y="401"/>
                </a:lnTo>
                <a:lnTo>
                  <a:pt x="871" y="427"/>
                </a:lnTo>
                <a:lnTo>
                  <a:pt x="856" y="427"/>
                </a:lnTo>
                <a:lnTo>
                  <a:pt x="854" y="408"/>
                </a:lnTo>
                <a:lnTo>
                  <a:pt x="851" y="390"/>
                </a:lnTo>
                <a:lnTo>
                  <a:pt x="848" y="374"/>
                </a:lnTo>
                <a:lnTo>
                  <a:pt x="843" y="359"/>
                </a:lnTo>
                <a:lnTo>
                  <a:pt x="839" y="343"/>
                </a:lnTo>
                <a:lnTo>
                  <a:pt x="835" y="328"/>
                </a:lnTo>
                <a:lnTo>
                  <a:pt x="833" y="308"/>
                </a:lnTo>
                <a:lnTo>
                  <a:pt x="832" y="287"/>
                </a:lnTo>
                <a:close/>
                <a:moveTo>
                  <a:pt x="362" y="360"/>
                </a:moveTo>
                <a:lnTo>
                  <a:pt x="363" y="356"/>
                </a:lnTo>
                <a:lnTo>
                  <a:pt x="364" y="354"/>
                </a:lnTo>
                <a:lnTo>
                  <a:pt x="366" y="353"/>
                </a:lnTo>
                <a:lnTo>
                  <a:pt x="367" y="354"/>
                </a:lnTo>
                <a:lnTo>
                  <a:pt x="369" y="356"/>
                </a:lnTo>
                <a:lnTo>
                  <a:pt x="370" y="357"/>
                </a:lnTo>
                <a:lnTo>
                  <a:pt x="369" y="359"/>
                </a:lnTo>
                <a:lnTo>
                  <a:pt x="367" y="360"/>
                </a:lnTo>
                <a:lnTo>
                  <a:pt x="366" y="363"/>
                </a:lnTo>
                <a:lnTo>
                  <a:pt x="364" y="366"/>
                </a:lnTo>
                <a:lnTo>
                  <a:pt x="364" y="367"/>
                </a:lnTo>
                <a:lnTo>
                  <a:pt x="363" y="367"/>
                </a:lnTo>
                <a:lnTo>
                  <a:pt x="363" y="365"/>
                </a:lnTo>
                <a:lnTo>
                  <a:pt x="362" y="36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1218987"/>
            <a:endParaRPr lang="en-US" sz="2400">
              <a:solidFill>
                <a:prstClr val="black"/>
              </a:solidFill>
              <a:latin typeface="Calibri"/>
            </a:endParaRPr>
          </a:p>
        </p:txBody>
      </p:sp>
      <p:sp>
        <p:nvSpPr>
          <p:cNvPr id="6" name="Rectangle 5"/>
          <p:cNvSpPr/>
          <p:nvPr/>
        </p:nvSpPr>
        <p:spPr>
          <a:xfrm>
            <a:off x="-30111" y="876398"/>
            <a:ext cx="5998291" cy="3357281"/>
          </a:xfrm>
          <a:prstGeom prst="rect">
            <a:avLst/>
          </a:prstGeom>
          <a:solidFill>
            <a:schemeClr val="bg1">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IN" sz="2400">
              <a:solidFill>
                <a:prstClr val="white"/>
              </a:solidFill>
              <a:latin typeface="Calibri"/>
            </a:endParaRPr>
          </a:p>
        </p:txBody>
      </p:sp>
      <p:grpSp>
        <p:nvGrpSpPr>
          <p:cNvPr id="52" name="Group 51"/>
          <p:cNvGrpSpPr/>
          <p:nvPr/>
        </p:nvGrpSpPr>
        <p:grpSpPr>
          <a:xfrm>
            <a:off x="1696475" y="18599"/>
            <a:ext cx="1199125" cy="1048201"/>
            <a:chOff x="5961063" y="1089025"/>
            <a:chExt cx="1078713" cy="790575"/>
          </a:xfrm>
        </p:grpSpPr>
        <p:sp>
          <p:nvSpPr>
            <p:cNvPr id="54" name="Freeform 5"/>
            <p:cNvSpPr>
              <a:spLocks/>
            </p:cNvSpPr>
            <p:nvPr/>
          </p:nvSpPr>
          <p:spPr bwMode="auto">
            <a:xfrm>
              <a:off x="5961063" y="1089025"/>
              <a:ext cx="134938" cy="790575"/>
            </a:xfrm>
            <a:custGeom>
              <a:avLst/>
              <a:gdLst>
                <a:gd name="T0" fmla="*/ 189 w 257"/>
                <a:gd name="T1" fmla="*/ 1495 h 1495"/>
                <a:gd name="T2" fmla="*/ 73 w 257"/>
                <a:gd name="T3" fmla="*/ 252 h 1495"/>
                <a:gd name="T4" fmla="*/ 57 w 257"/>
                <a:gd name="T5" fmla="*/ 243 h 1495"/>
                <a:gd name="T6" fmla="*/ 43 w 257"/>
                <a:gd name="T7" fmla="*/ 232 h 1495"/>
                <a:gd name="T8" fmla="*/ 31 w 257"/>
                <a:gd name="T9" fmla="*/ 218 h 1495"/>
                <a:gd name="T10" fmla="*/ 19 w 257"/>
                <a:gd name="T11" fmla="*/ 203 h 1495"/>
                <a:gd name="T12" fmla="*/ 12 w 257"/>
                <a:gd name="T13" fmla="*/ 188 h 1495"/>
                <a:gd name="T14" fmla="*/ 5 w 257"/>
                <a:gd name="T15" fmla="*/ 171 h 1495"/>
                <a:gd name="T16" fmla="*/ 1 w 257"/>
                <a:gd name="T17" fmla="*/ 151 h 1495"/>
                <a:gd name="T18" fmla="*/ 0 w 257"/>
                <a:gd name="T19" fmla="*/ 132 h 1495"/>
                <a:gd name="T20" fmla="*/ 2 w 257"/>
                <a:gd name="T21" fmla="*/ 106 h 1495"/>
                <a:gd name="T22" fmla="*/ 10 w 257"/>
                <a:gd name="T23" fmla="*/ 81 h 1495"/>
                <a:gd name="T24" fmla="*/ 22 w 257"/>
                <a:gd name="T25" fmla="*/ 59 h 1495"/>
                <a:gd name="T26" fmla="*/ 38 w 257"/>
                <a:gd name="T27" fmla="*/ 38 h 1495"/>
                <a:gd name="T28" fmla="*/ 57 w 257"/>
                <a:gd name="T29" fmla="*/ 23 h 1495"/>
                <a:gd name="T30" fmla="*/ 78 w 257"/>
                <a:gd name="T31" fmla="*/ 10 h 1495"/>
                <a:gd name="T32" fmla="*/ 103 w 257"/>
                <a:gd name="T33" fmla="*/ 2 h 1495"/>
                <a:gd name="T34" fmla="*/ 129 w 257"/>
                <a:gd name="T35" fmla="*/ 0 h 1495"/>
                <a:gd name="T36" fmla="*/ 154 w 257"/>
                <a:gd name="T37" fmla="*/ 2 h 1495"/>
                <a:gd name="T38" fmla="*/ 179 w 257"/>
                <a:gd name="T39" fmla="*/ 10 h 1495"/>
                <a:gd name="T40" fmla="*/ 200 w 257"/>
                <a:gd name="T41" fmla="*/ 23 h 1495"/>
                <a:gd name="T42" fmla="*/ 219 w 257"/>
                <a:gd name="T43" fmla="*/ 38 h 1495"/>
                <a:gd name="T44" fmla="*/ 235 w 257"/>
                <a:gd name="T45" fmla="*/ 59 h 1495"/>
                <a:gd name="T46" fmla="*/ 248 w 257"/>
                <a:gd name="T47" fmla="*/ 81 h 1495"/>
                <a:gd name="T48" fmla="*/ 254 w 257"/>
                <a:gd name="T49" fmla="*/ 106 h 1495"/>
                <a:gd name="T50" fmla="*/ 257 w 257"/>
                <a:gd name="T51" fmla="*/ 132 h 1495"/>
                <a:gd name="T52" fmla="*/ 256 w 257"/>
                <a:gd name="T53" fmla="*/ 151 h 1495"/>
                <a:gd name="T54" fmla="*/ 252 w 257"/>
                <a:gd name="T55" fmla="*/ 169 h 1495"/>
                <a:gd name="T56" fmla="*/ 247 w 257"/>
                <a:gd name="T57" fmla="*/ 186 h 1495"/>
                <a:gd name="T58" fmla="*/ 239 w 257"/>
                <a:gd name="T59" fmla="*/ 201 h 1495"/>
                <a:gd name="T60" fmla="*/ 228 w 257"/>
                <a:gd name="T61" fmla="*/ 216 h 1495"/>
                <a:gd name="T62" fmla="*/ 217 w 257"/>
                <a:gd name="T63" fmla="*/ 229 h 1495"/>
                <a:gd name="T64" fmla="*/ 204 w 257"/>
                <a:gd name="T65" fmla="*/ 241 h 1495"/>
                <a:gd name="T66" fmla="*/ 189 w 257"/>
                <a:gd name="T67" fmla="*/ 250 h 1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7" h="1495">
                  <a:moveTo>
                    <a:pt x="189" y="250"/>
                  </a:moveTo>
                  <a:lnTo>
                    <a:pt x="189" y="1495"/>
                  </a:lnTo>
                  <a:lnTo>
                    <a:pt x="73" y="1495"/>
                  </a:lnTo>
                  <a:lnTo>
                    <a:pt x="73" y="252"/>
                  </a:lnTo>
                  <a:lnTo>
                    <a:pt x="65" y="247"/>
                  </a:lnTo>
                  <a:lnTo>
                    <a:pt x="57" y="243"/>
                  </a:lnTo>
                  <a:lnTo>
                    <a:pt x="50" y="237"/>
                  </a:lnTo>
                  <a:lnTo>
                    <a:pt x="43" y="232"/>
                  </a:lnTo>
                  <a:lnTo>
                    <a:pt x="36" y="225"/>
                  </a:lnTo>
                  <a:lnTo>
                    <a:pt x="31" y="218"/>
                  </a:lnTo>
                  <a:lnTo>
                    <a:pt x="25" y="211"/>
                  </a:lnTo>
                  <a:lnTo>
                    <a:pt x="19" y="203"/>
                  </a:lnTo>
                  <a:lnTo>
                    <a:pt x="15" y="195"/>
                  </a:lnTo>
                  <a:lnTo>
                    <a:pt x="12" y="188"/>
                  </a:lnTo>
                  <a:lnTo>
                    <a:pt x="8" y="180"/>
                  </a:lnTo>
                  <a:lnTo>
                    <a:pt x="5" y="171"/>
                  </a:lnTo>
                  <a:lnTo>
                    <a:pt x="2" y="162"/>
                  </a:lnTo>
                  <a:lnTo>
                    <a:pt x="1" y="151"/>
                  </a:lnTo>
                  <a:lnTo>
                    <a:pt x="0" y="142"/>
                  </a:lnTo>
                  <a:lnTo>
                    <a:pt x="0" y="132"/>
                  </a:lnTo>
                  <a:lnTo>
                    <a:pt x="0" y="119"/>
                  </a:lnTo>
                  <a:lnTo>
                    <a:pt x="2" y="106"/>
                  </a:lnTo>
                  <a:lnTo>
                    <a:pt x="6" y="93"/>
                  </a:lnTo>
                  <a:lnTo>
                    <a:pt x="10" y="81"/>
                  </a:lnTo>
                  <a:lnTo>
                    <a:pt x="15" y="69"/>
                  </a:lnTo>
                  <a:lnTo>
                    <a:pt x="22" y="59"/>
                  </a:lnTo>
                  <a:lnTo>
                    <a:pt x="30" y="49"/>
                  </a:lnTo>
                  <a:lnTo>
                    <a:pt x="38" y="38"/>
                  </a:lnTo>
                  <a:lnTo>
                    <a:pt x="47" y="31"/>
                  </a:lnTo>
                  <a:lnTo>
                    <a:pt x="57" y="23"/>
                  </a:lnTo>
                  <a:lnTo>
                    <a:pt x="67" y="16"/>
                  </a:lnTo>
                  <a:lnTo>
                    <a:pt x="78" y="10"/>
                  </a:lnTo>
                  <a:lnTo>
                    <a:pt x="91" y="6"/>
                  </a:lnTo>
                  <a:lnTo>
                    <a:pt x="103" y="2"/>
                  </a:lnTo>
                  <a:lnTo>
                    <a:pt x="115" y="1"/>
                  </a:lnTo>
                  <a:lnTo>
                    <a:pt x="129" y="0"/>
                  </a:lnTo>
                  <a:lnTo>
                    <a:pt x="141" y="1"/>
                  </a:lnTo>
                  <a:lnTo>
                    <a:pt x="154" y="2"/>
                  </a:lnTo>
                  <a:lnTo>
                    <a:pt x="166" y="6"/>
                  </a:lnTo>
                  <a:lnTo>
                    <a:pt x="179" y="10"/>
                  </a:lnTo>
                  <a:lnTo>
                    <a:pt x="190" y="16"/>
                  </a:lnTo>
                  <a:lnTo>
                    <a:pt x="200" y="23"/>
                  </a:lnTo>
                  <a:lnTo>
                    <a:pt x="210" y="31"/>
                  </a:lnTo>
                  <a:lnTo>
                    <a:pt x="219" y="38"/>
                  </a:lnTo>
                  <a:lnTo>
                    <a:pt x="227" y="49"/>
                  </a:lnTo>
                  <a:lnTo>
                    <a:pt x="235" y="59"/>
                  </a:lnTo>
                  <a:lnTo>
                    <a:pt x="242" y="69"/>
                  </a:lnTo>
                  <a:lnTo>
                    <a:pt x="248" y="81"/>
                  </a:lnTo>
                  <a:lnTo>
                    <a:pt x="251" y="93"/>
                  </a:lnTo>
                  <a:lnTo>
                    <a:pt x="254" y="106"/>
                  </a:lnTo>
                  <a:lnTo>
                    <a:pt x="257" y="119"/>
                  </a:lnTo>
                  <a:lnTo>
                    <a:pt x="257" y="132"/>
                  </a:lnTo>
                  <a:lnTo>
                    <a:pt x="257" y="142"/>
                  </a:lnTo>
                  <a:lnTo>
                    <a:pt x="256" y="151"/>
                  </a:lnTo>
                  <a:lnTo>
                    <a:pt x="254" y="160"/>
                  </a:lnTo>
                  <a:lnTo>
                    <a:pt x="252" y="169"/>
                  </a:lnTo>
                  <a:lnTo>
                    <a:pt x="250" y="177"/>
                  </a:lnTo>
                  <a:lnTo>
                    <a:pt x="247" y="186"/>
                  </a:lnTo>
                  <a:lnTo>
                    <a:pt x="243" y="194"/>
                  </a:lnTo>
                  <a:lnTo>
                    <a:pt x="239" y="201"/>
                  </a:lnTo>
                  <a:lnTo>
                    <a:pt x="234" y="209"/>
                  </a:lnTo>
                  <a:lnTo>
                    <a:pt x="228" y="216"/>
                  </a:lnTo>
                  <a:lnTo>
                    <a:pt x="223" y="223"/>
                  </a:lnTo>
                  <a:lnTo>
                    <a:pt x="217" y="229"/>
                  </a:lnTo>
                  <a:lnTo>
                    <a:pt x="210" y="235"/>
                  </a:lnTo>
                  <a:lnTo>
                    <a:pt x="204" y="241"/>
                  </a:lnTo>
                  <a:lnTo>
                    <a:pt x="197" y="245"/>
                  </a:lnTo>
                  <a:lnTo>
                    <a:pt x="189" y="25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defTabSz="1218987"/>
              <a:endParaRPr lang="en-US" sz="2400">
                <a:solidFill>
                  <a:prstClr val="black"/>
                </a:solidFill>
                <a:latin typeface="Calibri"/>
              </a:endParaRPr>
            </a:p>
          </p:txBody>
        </p:sp>
        <p:sp>
          <p:nvSpPr>
            <p:cNvPr id="55" name="Freeform 27"/>
            <p:cNvSpPr>
              <a:spLocks/>
            </p:cNvSpPr>
            <p:nvPr/>
          </p:nvSpPr>
          <p:spPr bwMode="auto">
            <a:xfrm>
              <a:off x="6089991" y="1129510"/>
              <a:ext cx="949785" cy="473075"/>
            </a:xfrm>
            <a:custGeom>
              <a:avLst/>
              <a:gdLst>
                <a:gd name="T0" fmla="*/ 0 w 1185"/>
                <a:gd name="T1" fmla="*/ 107 h 894"/>
                <a:gd name="T2" fmla="*/ 0 w 1185"/>
                <a:gd name="T3" fmla="*/ 847 h 894"/>
                <a:gd name="T4" fmla="*/ 39 w 1185"/>
                <a:gd name="T5" fmla="*/ 863 h 894"/>
                <a:gd name="T6" fmla="*/ 79 w 1185"/>
                <a:gd name="T7" fmla="*/ 876 h 894"/>
                <a:gd name="T8" fmla="*/ 120 w 1185"/>
                <a:gd name="T9" fmla="*/ 885 h 894"/>
                <a:gd name="T10" fmla="*/ 159 w 1185"/>
                <a:gd name="T11" fmla="*/ 891 h 894"/>
                <a:gd name="T12" fmla="*/ 200 w 1185"/>
                <a:gd name="T13" fmla="*/ 894 h 894"/>
                <a:gd name="T14" fmla="*/ 240 w 1185"/>
                <a:gd name="T15" fmla="*/ 894 h 894"/>
                <a:gd name="T16" fmla="*/ 281 w 1185"/>
                <a:gd name="T17" fmla="*/ 892 h 894"/>
                <a:gd name="T18" fmla="*/ 322 w 1185"/>
                <a:gd name="T19" fmla="*/ 888 h 894"/>
                <a:gd name="T20" fmla="*/ 363 w 1185"/>
                <a:gd name="T21" fmla="*/ 882 h 894"/>
                <a:gd name="T22" fmla="*/ 403 w 1185"/>
                <a:gd name="T23" fmla="*/ 875 h 894"/>
                <a:gd name="T24" fmla="*/ 444 w 1185"/>
                <a:gd name="T25" fmla="*/ 866 h 894"/>
                <a:gd name="T26" fmla="*/ 485 w 1185"/>
                <a:gd name="T27" fmla="*/ 856 h 894"/>
                <a:gd name="T28" fmla="*/ 564 w 1185"/>
                <a:gd name="T29" fmla="*/ 833 h 894"/>
                <a:gd name="T30" fmla="*/ 643 w 1185"/>
                <a:gd name="T31" fmla="*/ 809 h 894"/>
                <a:gd name="T32" fmla="*/ 720 w 1185"/>
                <a:gd name="T33" fmla="*/ 787 h 894"/>
                <a:gd name="T34" fmla="*/ 795 w 1185"/>
                <a:gd name="T35" fmla="*/ 766 h 894"/>
                <a:gd name="T36" fmla="*/ 833 w 1185"/>
                <a:gd name="T37" fmla="*/ 757 h 894"/>
                <a:gd name="T38" fmla="*/ 869 w 1185"/>
                <a:gd name="T39" fmla="*/ 750 h 894"/>
                <a:gd name="T40" fmla="*/ 904 w 1185"/>
                <a:gd name="T41" fmla="*/ 745 h 894"/>
                <a:gd name="T42" fmla="*/ 939 w 1185"/>
                <a:gd name="T43" fmla="*/ 741 h 894"/>
                <a:gd name="T44" fmla="*/ 973 w 1185"/>
                <a:gd name="T45" fmla="*/ 740 h 894"/>
                <a:gd name="T46" fmla="*/ 1005 w 1185"/>
                <a:gd name="T47" fmla="*/ 741 h 894"/>
                <a:gd name="T48" fmla="*/ 1038 w 1185"/>
                <a:gd name="T49" fmla="*/ 746 h 894"/>
                <a:gd name="T50" fmla="*/ 1070 w 1185"/>
                <a:gd name="T51" fmla="*/ 753 h 894"/>
                <a:gd name="T52" fmla="*/ 1099 w 1185"/>
                <a:gd name="T53" fmla="*/ 763 h 894"/>
                <a:gd name="T54" fmla="*/ 1129 w 1185"/>
                <a:gd name="T55" fmla="*/ 776 h 894"/>
                <a:gd name="T56" fmla="*/ 1158 w 1185"/>
                <a:gd name="T57" fmla="*/ 795 h 894"/>
                <a:gd name="T58" fmla="*/ 1185 w 1185"/>
                <a:gd name="T59" fmla="*/ 816 h 894"/>
                <a:gd name="T60" fmla="*/ 1185 w 1185"/>
                <a:gd name="T61" fmla="*/ 75 h 894"/>
                <a:gd name="T62" fmla="*/ 1157 w 1185"/>
                <a:gd name="T63" fmla="*/ 53 h 894"/>
                <a:gd name="T64" fmla="*/ 1127 w 1185"/>
                <a:gd name="T65" fmla="*/ 35 h 894"/>
                <a:gd name="T66" fmla="*/ 1097 w 1185"/>
                <a:gd name="T67" fmla="*/ 21 h 894"/>
                <a:gd name="T68" fmla="*/ 1066 w 1185"/>
                <a:gd name="T69" fmla="*/ 11 h 894"/>
                <a:gd name="T70" fmla="*/ 1035 w 1185"/>
                <a:gd name="T71" fmla="*/ 5 h 894"/>
                <a:gd name="T72" fmla="*/ 1002 w 1185"/>
                <a:gd name="T73" fmla="*/ 0 h 894"/>
                <a:gd name="T74" fmla="*/ 969 w 1185"/>
                <a:gd name="T75" fmla="*/ 0 h 894"/>
                <a:gd name="T76" fmla="*/ 935 w 1185"/>
                <a:gd name="T77" fmla="*/ 3 h 894"/>
                <a:gd name="T78" fmla="*/ 901 w 1185"/>
                <a:gd name="T79" fmla="*/ 7 h 894"/>
                <a:gd name="T80" fmla="*/ 866 w 1185"/>
                <a:gd name="T81" fmla="*/ 13 h 894"/>
                <a:gd name="T82" fmla="*/ 830 w 1185"/>
                <a:gd name="T83" fmla="*/ 22 h 894"/>
                <a:gd name="T84" fmla="*/ 795 w 1185"/>
                <a:gd name="T85" fmla="*/ 31 h 894"/>
                <a:gd name="T86" fmla="*/ 721 w 1185"/>
                <a:gd name="T87" fmla="*/ 53 h 894"/>
                <a:gd name="T88" fmla="*/ 645 w 1185"/>
                <a:gd name="T89" fmla="*/ 79 h 894"/>
                <a:gd name="T90" fmla="*/ 568 w 1185"/>
                <a:gd name="T91" fmla="*/ 105 h 894"/>
                <a:gd name="T92" fmla="*/ 489 w 1185"/>
                <a:gd name="T93" fmla="*/ 129 h 894"/>
                <a:gd name="T94" fmla="*/ 450 w 1185"/>
                <a:gd name="T95" fmla="*/ 139 h 894"/>
                <a:gd name="T96" fmla="*/ 410 w 1185"/>
                <a:gd name="T97" fmla="*/ 148 h 894"/>
                <a:gd name="T98" fmla="*/ 369 w 1185"/>
                <a:gd name="T99" fmla="*/ 156 h 894"/>
                <a:gd name="T100" fmla="*/ 329 w 1185"/>
                <a:gd name="T101" fmla="*/ 162 h 894"/>
                <a:gd name="T102" fmla="*/ 288 w 1185"/>
                <a:gd name="T103" fmla="*/ 165 h 894"/>
                <a:gd name="T104" fmla="*/ 247 w 1185"/>
                <a:gd name="T105" fmla="*/ 166 h 894"/>
                <a:gd name="T106" fmla="*/ 207 w 1185"/>
                <a:gd name="T107" fmla="*/ 165 h 894"/>
                <a:gd name="T108" fmla="*/ 165 w 1185"/>
                <a:gd name="T109" fmla="*/ 161 h 894"/>
                <a:gd name="T110" fmla="*/ 124 w 1185"/>
                <a:gd name="T111" fmla="*/ 153 h 894"/>
                <a:gd name="T112" fmla="*/ 82 w 1185"/>
                <a:gd name="T113" fmla="*/ 142 h 894"/>
                <a:gd name="T114" fmla="*/ 42 w 1185"/>
                <a:gd name="T115" fmla="*/ 126 h 894"/>
                <a:gd name="T116" fmla="*/ 0 w 1185"/>
                <a:gd name="T117" fmla="*/ 107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85" h="894">
                  <a:moveTo>
                    <a:pt x="0" y="107"/>
                  </a:moveTo>
                  <a:lnTo>
                    <a:pt x="0" y="847"/>
                  </a:lnTo>
                  <a:lnTo>
                    <a:pt x="39" y="863"/>
                  </a:lnTo>
                  <a:lnTo>
                    <a:pt x="79" y="876"/>
                  </a:lnTo>
                  <a:lnTo>
                    <a:pt x="120" y="885"/>
                  </a:lnTo>
                  <a:lnTo>
                    <a:pt x="159" y="891"/>
                  </a:lnTo>
                  <a:lnTo>
                    <a:pt x="200" y="894"/>
                  </a:lnTo>
                  <a:lnTo>
                    <a:pt x="240" y="894"/>
                  </a:lnTo>
                  <a:lnTo>
                    <a:pt x="281" y="892"/>
                  </a:lnTo>
                  <a:lnTo>
                    <a:pt x="322" y="888"/>
                  </a:lnTo>
                  <a:lnTo>
                    <a:pt x="363" y="882"/>
                  </a:lnTo>
                  <a:lnTo>
                    <a:pt x="403" y="875"/>
                  </a:lnTo>
                  <a:lnTo>
                    <a:pt x="444" y="866"/>
                  </a:lnTo>
                  <a:lnTo>
                    <a:pt x="485" y="856"/>
                  </a:lnTo>
                  <a:lnTo>
                    <a:pt x="564" y="833"/>
                  </a:lnTo>
                  <a:lnTo>
                    <a:pt x="643" y="809"/>
                  </a:lnTo>
                  <a:lnTo>
                    <a:pt x="720" y="787"/>
                  </a:lnTo>
                  <a:lnTo>
                    <a:pt x="795" y="766"/>
                  </a:lnTo>
                  <a:lnTo>
                    <a:pt x="833" y="757"/>
                  </a:lnTo>
                  <a:lnTo>
                    <a:pt x="869" y="750"/>
                  </a:lnTo>
                  <a:lnTo>
                    <a:pt x="904" y="745"/>
                  </a:lnTo>
                  <a:lnTo>
                    <a:pt x="939" y="741"/>
                  </a:lnTo>
                  <a:lnTo>
                    <a:pt x="973" y="740"/>
                  </a:lnTo>
                  <a:lnTo>
                    <a:pt x="1005" y="741"/>
                  </a:lnTo>
                  <a:lnTo>
                    <a:pt x="1038" y="746"/>
                  </a:lnTo>
                  <a:lnTo>
                    <a:pt x="1070" y="753"/>
                  </a:lnTo>
                  <a:lnTo>
                    <a:pt x="1099" y="763"/>
                  </a:lnTo>
                  <a:lnTo>
                    <a:pt x="1129" y="776"/>
                  </a:lnTo>
                  <a:lnTo>
                    <a:pt x="1158" y="795"/>
                  </a:lnTo>
                  <a:lnTo>
                    <a:pt x="1185" y="816"/>
                  </a:lnTo>
                  <a:lnTo>
                    <a:pt x="1185" y="75"/>
                  </a:lnTo>
                  <a:lnTo>
                    <a:pt x="1157" y="53"/>
                  </a:lnTo>
                  <a:lnTo>
                    <a:pt x="1127" y="35"/>
                  </a:lnTo>
                  <a:lnTo>
                    <a:pt x="1097" y="21"/>
                  </a:lnTo>
                  <a:lnTo>
                    <a:pt x="1066" y="11"/>
                  </a:lnTo>
                  <a:lnTo>
                    <a:pt x="1035" y="5"/>
                  </a:lnTo>
                  <a:lnTo>
                    <a:pt x="1002" y="0"/>
                  </a:lnTo>
                  <a:lnTo>
                    <a:pt x="969" y="0"/>
                  </a:lnTo>
                  <a:lnTo>
                    <a:pt x="935" y="3"/>
                  </a:lnTo>
                  <a:lnTo>
                    <a:pt x="901" y="7"/>
                  </a:lnTo>
                  <a:lnTo>
                    <a:pt x="866" y="13"/>
                  </a:lnTo>
                  <a:lnTo>
                    <a:pt x="830" y="22"/>
                  </a:lnTo>
                  <a:lnTo>
                    <a:pt x="795" y="31"/>
                  </a:lnTo>
                  <a:lnTo>
                    <a:pt x="721" y="53"/>
                  </a:lnTo>
                  <a:lnTo>
                    <a:pt x="645" y="79"/>
                  </a:lnTo>
                  <a:lnTo>
                    <a:pt x="568" y="105"/>
                  </a:lnTo>
                  <a:lnTo>
                    <a:pt x="489" y="129"/>
                  </a:lnTo>
                  <a:lnTo>
                    <a:pt x="450" y="139"/>
                  </a:lnTo>
                  <a:lnTo>
                    <a:pt x="410" y="148"/>
                  </a:lnTo>
                  <a:lnTo>
                    <a:pt x="369" y="156"/>
                  </a:lnTo>
                  <a:lnTo>
                    <a:pt x="329" y="162"/>
                  </a:lnTo>
                  <a:lnTo>
                    <a:pt x="288" y="165"/>
                  </a:lnTo>
                  <a:lnTo>
                    <a:pt x="247" y="166"/>
                  </a:lnTo>
                  <a:lnTo>
                    <a:pt x="207" y="165"/>
                  </a:lnTo>
                  <a:lnTo>
                    <a:pt x="165" y="161"/>
                  </a:lnTo>
                  <a:lnTo>
                    <a:pt x="124" y="153"/>
                  </a:lnTo>
                  <a:lnTo>
                    <a:pt x="82" y="142"/>
                  </a:lnTo>
                  <a:lnTo>
                    <a:pt x="42" y="126"/>
                  </a:lnTo>
                  <a:lnTo>
                    <a:pt x="0" y="107"/>
                  </a:lnTo>
                  <a:close/>
                </a:path>
              </a:pathLst>
            </a:custGeom>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45720" rIns="91440" bIns="45720" numCol="1" anchor="t" anchorCtr="0" compatLnSpc="1">
              <a:prstTxWarp prst="textNoShape">
                <a:avLst/>
              </a:prstTxWarp>
            </a:bodyPr>
            <a:lstStyle/>
            <a:p>
              <a:pPr defTabSz="1218987"/>
              <a:endParaRPr lang="en-US" sz="2400">
                <a:solidFill>
                  <a:prstClr val="white"/>
                </a:solidFill>
                <a:latin typeface="Calibri"/>
              </a:endParaRPr>
            </a:p>
          </p:txBody>
        </p:sp>
        <p:sp>
          <p:nvSpPr>
            <p:cNvPr id="56" name="TextBox 55"/>
            <p:cNvSpPr txBox="1"/>
            <p:nvPr/>
          </p:nvSpPr>
          <p:spPr>
            <a:xfrm rot="21308185">
              <a:off x="6112170" y="1257328"/>
              <a:ext cx="905425" cy="243738"/>
            </a:xfrm>
            <a:prstGeom prst="rect">
              <a:avLst/>
            </a:prstGeom>
            <a:noFill/>
          </p:spPr>
          <p:txBody>
            <a:bodyPr wrap="none" rtlCol="0">
              <a:spAutoFit/>
            </a:bodyPr>
            <a:lstStyle/>
            <a:p>
              <a:pPr defTabSz="1218987"/>
              <a:r>
                <a:rPr lang="en-US" sz="1500" b="1" dirty="0">
                  <a:solidFill>
                    <a:prstClr val="white"/>
                  </a:solidFill>
                  <a:latin typeface="Calibri"/>
                </a:rPr>
                <a:t>Certificate</a:t>
              </a:r>
            </a:p>
          </p:txBody>
        </p:sp>
      </p:grpSp>
      <p:sp>
        <p:nvSpPr>
          <p:cNvPr id="62" name="Freeform 6"/>
          <p:cNvSpPr>
            <a:spLocks/>
          </p:cNvSpPr>
          <p:nvPr/>
        </p:nvSpPr>
        <p:spPr bwMode="auto">
          <a:xfrm>
            <a:off x="1741871" y="1266316"/>
            <a:ext cx="871787" cy="4729452"/>
          </a:xfrm>
          <a:custGeom>
            <a:avLst/>
            <a:gdLst>
              <a:gd name="T0" fmla="*/ 559 w 1293"/>
              <a:gd name="T1" fmla="*/ 8157 h 8435"/>
              <a:gd name="T2" fmla="*/ 803 w 1293"/>
              <a:gd name="T3" fmla="*/ 7992 h 8435"/>
              <a:gd name="T4" fmla="*/ 1009 w 1293"/>
              <a:gd name="T5" fmla="*/ 7790 h 8435"/>
              <a:gd name="T6" fmla="*/ 1128 w 1293"/>
              <a:gd name="T7" fmla="*/ 7549 h 8435"/>
              <a:gd name="T8" fmla="*/ 1108 w 1293"/>
              <a:gd name="T9" fmla="*/ 7268 h 8435"/>
              <a:gd name="T10" fmla="*/ 995 w 1293"/>
              <a:gd name="T11" fmla="*/ 7039 h 8435"/>
              <a:gd name="T12" fmla="*/ 765 w 1293"/>
              <a:gd name="T13" fmla="*/ 6620 h 8435"/>
              <a:gd name="T14" fmla="*/ 599 w 1293"/>
              <a:gd name="T15" fmla="*/ 6330 h 8435"/>
              <a:gd name="T16" fmla="*/ 443 w 1293"/>
              <a:gd name="T17" fmla="*/ 6001 h 8435"/>
              <a:gd name="T18" fmla="*/ 386 w 1293"/>
              <a:gd name="T19" fmla="*/ 5824 h 8435"/>
              <a:gd name="T20" fmla="*/ 358 w 1293"/>
              <a:gd name="T21" fmla="*/ 5641 h 8435"/>
              <a:gd name="T22" fmla="*/ 364 w 1293"/>
              <a:gd name="T23" fmla="*/ 5467 h 8435"/>
              <a:gd name="T24" fmla="*/ 416 w 1293"/>
              <a:gd name="T25" fmla="*/ 5279 h 8435"/>
              <a:gd name="T26" fmla="*/ 623 w 1293"/>
              <a:gd name="T27" fmla="*/ 4787 h 8435"/>
              <a:gd name="T28" fmla="*/ 880 w 1293"/>
              <a:gd name="T29" fmla="*/ 4263 h 8435"/>
              <a:gd name="T30" fmla="*/ 1035 w 1293"/>
              <a:gd name="T31" fmla="*/ 3949 h 8435"/>
              <a:gd name="T32" fmla="*/ 1113 w 1293"/>
              <a:gd name="T33" fmla="*/ 3717 h 8435"/>
              <a:gd name="T34" fmla="*/ 1122 w 1293"/>
              <a:gd name="T35" fmla="*/ 3592 h 8435"/>
              <a:gd name="T36" fmla="*/ 1099 w 1293"/>
              <a:gd name="T37" fmla="*/ 3463 h 8435"/>
              <a:gd name="T38" fmla="*/ 1036 w 1293"/>
              <a:gd name="T39" fmla="*/ 3305 h 8435"/>
              <a:gd name="T40" fmla="*/ 888 w 1293"/>
              <a:gd name="T41" fmla="*/ 3057 h 8435"/>
              <a:gd name="T42" fmla="*/ 653 w 1293"/>
              <a:gd name="T43" fmla="*/ 2736 h 8435"/>
              <a:gd name="T44" fmla="*/ 467 w 1293"/>
              <a:gd name="T45" fmla="*/ 2492 h 8435"/>
              <a:gd name="T46" fmla="*/ 205 w 1293"/>
              <a:gd name="T47" fmla="*/ 2121 h 8435"/>
              <a:gd name="T48" fmla="*/ 104 w 1293"/>
              <a:gd name="T49" fmla="*/ 1925 h 8435"/>
              <a:gd name="T50" fmla="*/ 41 w 1293"/>
              <a:gd name="T51" fmla="*/ 1707 h 8435"/>
              <a:gd name="T52" fmla="*/ 9 w 1293"/>
              <a:gd name="T53" fmla="*/ 1433 h 8435"/>
              <a:gd name="T54" fmla="*/ 147 w 1293"/>
              <a:gd name="T55" fmla="*/ 0 h 8435"/>
              <a:gd name="T56" fmla="*/ 158 w 1293"/>
              <a:gd name="T57" fmla="*/ 1464 h 8435"/>
              <a:gd name="T58" fmla="*/ 192 w 1293"/>
              <a:gd name="T59" fmla="*/ 1707 h 8435"/>
              <a:gd name="T60" fmla="*/ 257 w 1293"/>
              <a:gd name="T61" fmla="*/ 1904 h 8435"/>
              <a:gd name="T62" fmla="*/ 357 w 1293"/>
              <a:gd name="T63" fmla="*/ 2088 h 8435"/>
              <a:gd name="T64" fmla="*/ 626 w 1293"/>
              <a:gd name="T65" fmla="*/ 2460 h 8435"/>
              <a:gd name="T66" fmla="*/ 812 w 1293"/>
              <a:gd name="T67" fmla="*/ 2703 h 8435"/>
              <a:gd name="T68" fmla="*/ 1057 w 1293"/>
              <a:gd name="T69" fmla="*/ 3047 h 8435"/>
              <a:gd name="T70" fmla="*/ 1188 w 1293"/>
              <a:gd name="T71" fmla="*/ 3285 h 8435"/>
              <a:gd name="T72" fmla="*/ 1250 w 1293"/>
              <a:gd name="T73" fmla="*/ 3459 h 8435"/>
              <a:gd name="T74" fmla="*/ 1270 w 1293"/>
              <a:gd name="T75" fmla="*/ 3603 h 8435"/>
              <a:gd name="T76" fmla="*/ 1261 w 1293"/>
              <a:gd name="T77" fmla="*/ 3731 h 8435"/>
              <a:gd name="T78" fmla="*/ 1195 w 1293"/>
              <a:gd name="T79" fmla="*/ 3947 h 8435"/>
              <a:gd name="T80" fmla="*/ 1024 w 1293"/>
              <a:gd name="T81" fmla="*/ 4304 h 8435"/>
              <a:gd name="T82" fmla="*/ 801 w 1293"/>
              <a:gd name="T83" fmla="*/ 4752 h 8435"/>
              <a:gd name="T84" fmla="*/ 585 w 1293"/>
              <a:gd name="T85" fmla="*/ 5238 h 8435"/>
              <a:gd name="T86" fmla="*/ 515 w 1293"/>
              <a:gd name="T87" fmla="*/ 5457 h 8435"/>
              <a:gd name="T88" fmla="*/ 503 w 1293"/>
              <a:gd name="T89" fmla="*/ 5609 h 8435"/>
              <a:gd name="T90" fmla="*/ 525 w 1293"/>
              <a:gd name="T91" fmla="*/ 5773 h 8435"/>
              <a:gd name="T92" fmla="*/ 606 w 1293"/>
              <a:gd name="T93" fmla="*/ 6014 h 8435"/>
              <a:gd name="T94" fmla="*/ 757 w 1293"/>
              <a:gd name="T95" fmla="*/ 6315 h 8435"/>
              <a:gd name="T96" fmla="*/ 976 w 1293"/>
              <a:gd name="T97" fmla="*/ 6693 h 8435"/>
              <a:gd name="T98" fmla="*/ 1158 w 1293"/>
              <a:gd name="T99" fmla="*/ 7033 h 8435"/>
              <a:gd name="T100" fmla="*/ 1281 w 1293"/>
              <a:gd name="T101" fmla="*/ 7343 h 8435"/>
              <a:gd name="T102" fmla="*/ 1256 w 1293"/>
              <a:gd name="T103" fmla="*/ 7663 h 8435"/>
              <a:gd name="T104" fmla="*/ 1090 w 1293"/>
              <a:gd name="T105" fmla="*/ 7931 h 8435"/>
              <a:gd name="T106" fmla="*/ 842 w 1293"/>
              <a:gd name="T107" fmla="*/ 8149 h 8435"/>
              <a:gd name="T108" fmla="*/ 566 w 1293"/>
              <a:gd name="T109" fmla="*/ 8322 h 8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93" h="8435">
                <a:moveTo>
                  <a:pt x="290" y="8306"/>
                </a:moveTo>
                <a:lnTo>
                  <a:pt x="327" y="8286"/>
                </a:lnTo>
                <a:lnTo>
                  <a:pt x="400" y="8246"/>
                </a:lnTo>
                <a:lnTo>
                  <a:pt x="478" y="8203"/>
                </a:lnTo>
                <a:lnTo>
                  <a:pt x="519" y="8181"/>
                </a:lnTo>
                <a:lnTo>
                  <a:pt x="559" y="8157"/>
                </a:lnTo>
                <a:lnTo>
                  <a:pt x="600" y="8131"/>
                </a:lnTo>
                <a:lnTo>
                  <a:pt x="642" y="8105"/>
                </a:lnTo>
                <a:lnTo>
                  <a:pt x="683" y="8079"/>
                </a:lnTo>
                <a:lnTo>
                  <a:pt x="723" y="8051"/>
                </a:lnTo>
                <a:lnTo>
                  <a:pt x="764" y="8022"/>
                </a:lnTo>
                <a:lnTo>
                  <a:pt x="803" y="7992"/>
                </a:lnTo>
                <a:lnTo>
                  <a:pt x="842" y="7961"/>
                </a:lnTo>
                <a:lnTo>
                  <a:pt x="879" y="7929"/>
                </a:lnTo>
                <a:lnTo>
                  <a:pt x="914" y="7896"/>
                </a:lnTo>
                <a:lnTo>
                  <a:pt x="948" y="7862"/>
                </a:lnTo>
                <a:lnTo>
                  <a:pt x="980" y="7826"/>
                </a:lnTo>
                <a:lnTo>
                  <a:pt x="1009" y="7790"/>
                </a:lnTo>
                <a:lnTo>
                  <a:pt x="1036" y="7753"/>
                </a:lnTo>
                <a:lnTo>
                  <a:pt x="1061" y="7714"/>
                </a:lnTo>
                <a:lnTo>
                  <a:pt x="1082" y="7675"/>
                </a:lnTo>
                <a:lnTo>
                  <a:pt x="1101" y="7634"/>
                </a:lnTo>
                <a:lnTo>
                  <a:pt x="1116" y="7592"/>
                </a:lnTo>
                <a:lnTo>
                  <a:pt x="1128" y="7549"/>
                </a:lnTo>
                <a:lnTo>
                  <a:pt x="1136" y="7506"/>
                </a:lnTo>
                <a:lnTo>
                  <a:pt x="1139" y="7461"/>
                </a:lnTo>
                <a:lnTo>
                  <a:pt x="1138" y="7415"/>
                </a:lnTo>
                <a:lnTo>
                  <a:pt x="1133" y="7367"/>
                </a:lnTo>
                <a:lnTo>
                  <a:pt x="1123" y="7319"/>
                </a:lnTo>
                <a:lnTo>
                  <a:pt x="1108" y="7268"/>
                </a:lnTo>
                <a:lnTo>
                  <a:pt x="1088" y="7217"/>
                </a:lnTo>
                <a:lnTo>
                  <a:pt x="1062" y="7165"/>
                </a:lnTo>
                <a:lnTo>
                  <a:pt x="1046" y="7136"/>
                </a:lnTo>
                <a:lnTo>
                  <a:pt x="1031" y="7104"/>
                </a:lnTo>
                <a:lnTo>
                  <a:pt x="1012" y="7071"/>
                </a:lnTo>
                <a:lnTo>
                  <a:pt x="995" y="7039"/>
                </a:lnTo>
                <a:lnTo>
                  <a:pt x="960" y="6972"/>
                </a:lnTo>
                <a:lnTo>
                  <a:pt x="923" y="6904"/>
                </a:lnTo>
                <a:lnTo>
                  <a:pt x="886" y="6834"/>
                </a:lnTo>
                <a:lnTo>
                  <a:pt x="847" y="6763"/>
                </a:lnTo>
                <a:lnTo>
                  <a:pt x="807" y="6692"/>
                </a:lnTo>
                <a:lnTo>
                  <a:pt x="765" y="6620"/>
                </a:lnTo>
                <a:lnTo>
                  <a:pt x="722" y="6546"/>
                </a:lnTo>
                <a:lnTo>
                  <a:pt x="677" y="6473"/>
                </a:lnTo>
                <a:lnTo>
                  <a:pt x="675" y="6469"/>
                </a:lnTo>
                <a:lnTo>
                  <a:pt x="654" y="6433"/>
                </a:lnTo>
                <a:lnTo>
                  <a:pt x="626" y="6382"/>
                </a:lnTo>
                <a:lnTo>
                  <a:pt x="599" y="6330"/>
                </a:lnTo>
                <a:lnTo>
                  <a:pt x="571" y="6278"/>
                </a:lnTo>
                <a:lnTo>
                  <a:pt x="542" y="6224"/>
                </a:lnTo>
                <a:lnTo>
                  <a:pt x="516" y="6170"/>
                </a:lnTo>
                <a:lnTo>
                  <a:pt x="490" y="6115"/>
                </a:lnTo>
                <a:lnTo>
                  <a:pt x="466" y="6058"/>
                </a:lnTo>
                <a:lnTo>
                  <a:pt x="443" y="6001"/>
                </a:lnTo>
                <a:lnTo>
                  <a:pt x="432" y="5972"/>
                </a:lnTo>
                <a:lnTo>
                  <a:pt x="422" y="5943"/>
                </a:lnTo>
                <a:lnTo>
                  <a:pt x="412" y="5914"/>
                </a:lnTo>
                <a:lnTo>
                  <a:pt x="403" y="5884"/>
                </a:lnTo>
                <a:lnTo>
                  <a:pt x="394" y="5854"/>
                </a:lnTo>
                <a:lnTo>
                  <a:pt x="386" y="5824"/>
                </a:lnTo>
                <a:lnTo>
                  <a:pt x="380" y="5794"/>
                </a:lnTo>
                <a:lnTo>
                  <a:pt x="374" y="5764"/>
                </a:lnTo>
                <a:lnTo>
                  <a:pt x="368" y="5734"/>
                </a:lnTo>
                <a:lnTo>
                  <a:pt x="364" y="5703"/>
                </a:lnTo>
                <a:lnTo>
                  <a:pt x="361" y="5673"/>
                </a:lnTo>
                <a:lnTo>
                  <a:pt x="358" y="5641"/>
                </a:lnTo>
                <a:lnTo>
                  <a:pt x="356" y="5611"/>
                </a:lnTo>
                <a:lnTo>
                  <a:pt x="356" y="5579"/>
                </a:lnTo>
                <a:lnTo>
                  <a:pt x="356" y="5549"/>
                </a:lnTo>
                <a:lnTo>
                  <a:pt x="358" y="5517"/>
                </a:lnTo>
                <a:lnTo>
                  <a:pt x="361" y="5493"/>
                </a:lnTo>
                <a:lnTo>
                  <a:pt x="364" y="5467"/>
                </a:lnTo>
                <a:lnTo>
                  <a:pt x="370" y="5439"/>
                </a:lnTo>
                <a:lnTo>
                  <a:pt x="376" y="5410"/>
                </a:lnTo>
                <a:lnTo>
                  <a:pt x="384" y="5379"/>
                </a:lnTo>
                <a:lnTo>
                  <a:pt x="393" y="5348"/>
                </a:lnTo>
                <a:lnTo>
                  <a:pt x="403" y="5314"/>
                </a:lnTo>
                <a:lnTo>
                  <a:pt x="416" y="5279"/>
                </a:lnTo>
                <a:lnTo>
                  <a:pt x="442" y="5205"/>
                </a:lnTo>
                <a:lnTo>
                  <a:pt x="472" y="5127"/>
                </a:lnTo>
                <a:lnTo>
                  <a:pt x="506" y="5046"/>
                </a:lnTo>
                <a:lnTo>
                  <a:pt x="542" y="4962"/>
                </a:lnTo>
                <a:lnTo>
                  <a:pt x="582" y="4875"/>
                </a:lnTo>
                <a:lnTo>
                  <a:pt x="623" y="4787"/>
                </a:lnTo>
                <a:lnTo>
                  <a:pt x="664" y="4699"/>
                </a:lnTo>
                <a:lnTo>
                  <a:pt x="709" y="4610"/>
                </a:lnTo>
                <a:lnTo>
                  <a:pt x="751" y="4521"/>
                </a:lnTo>
                <a:lnTo>
                  <a:pt x="796" y="4432"/>
                </a:lnTo>
                <a:lnTo>
                  <a:pt x="838" y="4347"/>
                </a:lnTo>
                <a:lnTo>
                  <a:pt x="880" y="4263"/>
                </a:lnTo>
                <a:lnTo>
                  <a:pt x="893" y="4238"/>
                </a:lnTo>
                <a:lnTo>
                  <a:pt x="893" y="4238"/>
                </a:lnTo>
                <a:lnTo>
                  <a:pt x="921" y="4183"/>
                </a:lnTo>
                <a:lnTo>
                  <a:pt x="971" y="4083"/>
                </a:lnTo>
                <a:lnTo>
                  <a:pt x="1015" y="3992"/>
                </a:lnTo>
                <a:lnTo>
                  <a:pt x="1035" y="3949"/>
                </a:lnTo>
                <a:lnTo>
                  <a:pt x="1053" y="3907"/>
                </a:lnTo>
                <a:lnTo>
                  <a:pt x="1069" y="3868"/>
                </a:lnTo>
                <a:lnTo>
                  <a:pt x="1084" y="3829"/>
                </a:lnTo>
                <a:lnTo>
                  <a:pt x="1095" y="3791"/>
                </a:lnTo>
                <a:lnTo>
                  <a:pt x="1105" y="3754"/>
                </a:lnTo>
                <a:lnTo>
                  <a:pt x="1113" y="3717"/>
                </a:lnTo>
                <a:lnTo>
                  <a:pt x="1119" y="3681"/>
                </a:lnTo>
                <a:lnTo>
                  <a:pt x="1121" y="3663"/>
                </a:lnTo>
                <a:lnTo>
                  <a:pt x="1122" y="3645"/>
                </a:lnTo>
                <a:lnTo>
                  <a:pt x="1123" y="3627"/>
                </a:lnTo>
                <a:lnTo>
                  <a:pt x="1123" y="3610"/>
                </a:lnTo>
                <a:lnTo>
                  <a:pt x="1122" y="3592"/>
                </a:lnTo>
                <a:lnTo>
                  <a:pt x="1121" y="3574"/>
                </a:lnTo>
                <a:lnTo>
                  <a:pt x="1119" y="3556"/>
                </a:lnTo>
                <a:lnTo>
                  <a:pt x="1116" y="3537"/>
                </a:lnTo>
                <a:lnTo>
                  <a:pt x="1112" y="3513"/>
                </a:lnTo>
                <a:lnTo>
                  <a:pt x="1106" y="3488"/>
                </a:lnTo>
                <a:lnTo>
                  <a:pt x="1099" y="3463"/>
                </a:lnTo>
                <a:lnTo>
                  <a:pt x="1092" y="3437"/>
                </a:lnTo>
                <a:lnTo>
                  <a:pt x="1082" y="3412"/>
                </a:lnTo>
                <a:lnTo>
                  <a:pt x="1072" y="3385"/>
                </a:lnTo>
                <a:lnTo>
                  <a:pt x="1061" y="3359"/>
                </a:lnTo>
                <a:lnTo>
                  <a:pt x="1049" y="3332"/>
                </a:lnTo>
                <a:lnTo>
                  <a:pt x="1036" y="3305"/>
                </a:lnTo>
                <a:lnTo>
                  <a:pt x="1023" y="3278"/>
                </a:lnTo>
                <a:lnTo>
                  <a:pt x="1008" y="3251"/>
                </a:lnTo>
                <a:lnTo>
                  <a:pt x="992" y="3224"/>
                </a:lnTo>
                <a:lnTo>
                  <a:pt x="959" y="3168"/>
                </a:lnTo>
                <a:lnTo>
                  <a:pt x="925" y="3113"/>
                </a:lnTo>
                <a:lnTo>
                  <a:pt x="888" y="3057"/>
                </a:lnTo>
                <a:lnTo>
                  <a:pt x="851" y="3001"/>
                </a:lnTo>
                <a:lnTo>
                  <a:pt x="811" y="2947"/>
                </a:lnTo>
                <a:lnTo>
                  <a:pt x="772" y="2893"/>
                </a:lnTo>
                <a:lnTo>
                  <a:pt x="732" y="2840"/>
                </a:lnTo>
                <a:lnTo>
                  <a:pt x="693" y="2787"/>
                </a:lnTo>
                <a:lnTo>
                  <a:pt x="653" y="2736"/>
                </a:lnTo>
                <a:lnTo>
                  <a:pt x="616" y="2687"/>
                </a:lnTo>
                <a:lnTo>
                  <a:pt x="588" y="2652"/>
                </a:lnTo>
                <a:lnTo>
                  <a:pt x="562" y="2617"/>
                </a:lnTo>
                <a:lnTo>
                  <a:pt x="535" y="2582"/>
                </a:lnTo>
                <a:lnTo>
                  <a:pt x="509" y="2548"/>
                </a:lnTo>
                <a:lnTo>
                  <a:pt x="467" y="2492"/>
                </a:lnTo>
                <a:lnTo>
                  <a:pt x="403" y="2408"/>
                </a:lnTo>
                <a:lnTo>
                  <a:pt x="346" y="2330"/>
                </a:lnTo>
                <a:lnTo>
                  <a:pt x="294" y="2257"/>
                </a:lnTo>
                <a:lnTo>
                  <a:pt x="246" y="2188"/>
                </a:lnTo>
                <a:lnTo>
                  <a:pt x="225" y="2154"/>
                </a:lnTo>
                <a:lnTo>
                  <a:pt x="205" y="2121"/>
                </a:lnTo>
                <a:lnTo>
                  <a:pt x="184" y="2088"/>
                </a:lnTo>
                <a:lnTo>
                  <a:pt x="166" y="2056"/>
                </a:lnTo>
                <a:lnTo>
                  <a:pt x="149" y="2023"/>
                </a:lnTo>
                <a:lnTo>
                  <a:pt x="133" y="1991"/>
                </a:lnTo>
                <a:lnTo>
                  <a:pt x="118" y="1957"/>
                </a:lnTo>
                <a:lnTo>
                  <a:pt x="104" y="1925"/>
                </a:lnTo>
                <a:lnTo>
                  <a:pt x="92" y="1891"/>
                </a:lnTo>
                <a:lnTo>
                  <a:pt x="79" y="1856"/>
                </a:lnTo>
                <a:lnTo>
                  <a:pt x="68" y="1821"/>
                </a:lnTo>
                <a:lnTo>
                  <a:pt x="58" y="1783"/>
                </a:lnTo>
                <a:lnTo>
                  <a:pt x="49" y="1746"/>
                </a:lnTo>
                <a:lnTo>
                  <a:pt x="41" y="1707"/>
                </a:lnTo>
                <a:lnTo>
                  <a:pt x="34" y="1666"/>
                </a:lnTo>
                <a:lnTo>
                  <a:pt x="27" y="1623"/>
                </a:lnTo>
                <a:lnTo>
                  <a:pt x="22" y="1579"/>
                </a:lnTo>
                <a:lnTo>
                  <a:pt x="17" y="1533"/>
                </a:lnTo>
                <a:lnTo>
                  <a:pt x="13" y="1484"/>
                </a:lnTo>
                <a:lnTo>
                  <a:pt x="9" y="1433"/>
                </a:lnTo>
                <a:lnTo>
                  <a:pt x="7" y="1380"/>
                </a:lnTo>
                <a:lnTo>
                  <a:pt x="5" y="1325"/>
                </a:lnTo>
                <a:lnTo>
                  <a:pt x="3" y="1266"/>
                </a:lnTo>
                <a:lnTo>
                  <a:pt x="3" y="1205"/>
                </a:lnTo>
                <a:lnTo>
                  <a:pt x="0" y="0"/>
                </a:lnTo>
                <a:lnTo>
                  <a:pt x="147" y="0"/>
                </a:lnTo>
                <a:lnTo>
                  <a:pt x="149" y="1205"/>
                </a:lnTo>
                <a:lnTo>
                  <a:pt x="150" y="1261"/>
                </a:lnTo>
                <a:lnTo>
                  <a:pt x="151" y="1316"/>
                </a:lnTo>
                <a:lnTo>
                  <a:pt x="153" y="1368"/>
                </a:lnTo>
                <a:lnTo>
                  <a:pt x="155" y="1417"/>
                </a:lnTo>
                <a:lnTo>
                  <a:pt x="158" y="1464"/>
                </a:lnTo>
                <a:lnTo>
                  <a:pt x="162" y="1509"/>
                </a:lnTo>
                <a:lnTo>
                  <a:pt x="166" y="1552"/>
                </a:lnTo>
                <a:lnTo>
                  <a:pt x="172" y="1592"/>
                </a:lnTo>
                <a:lnTo>
                  <a:pt x="177" y="1632"/>
                </a:lnTo>
                <a:lnTo>
                  <a:pt x="184" y="1670"/>
                </a:lnTo>
                <a:lnTo>
                  <a:pt x="192" y="1707"/>
                </a:lnTo>
                <a:lnTo>
                  <a:pt x="201" y="1742"/>
                </a:lnTo>
                <a:lnTo>
                  <a:pt x="210" y="1777"/>
                </a:lnTo>
                <a:lnTo>
                  <a:pt x="220" y="1809"/>
                </a:lnTo>
                <a:lnTo>
                  <a:pt x="232" y="1842"/>
                </a:lnTo>
                <a:lnTo>
                  <a:pt x="244" y="1874"/>
                </a:lnTo>
                <a:lnTo>
                  <a:pt x="257" y="1904"/>
                </a:lnTo>
                <a:lnTo>
                  <a:pt x="271" y="1935"/>
                </a:lnTo>
                <a:lnTo>
                  <a:pt x="286" y="1965"/>
                </a:lnTo>
                <a:lnTo>
                  <a:pt x="303" y="1996"/>
                </a:lnTo>
                <a:lnTo>
                  <a:pt x="320" y="2026"/>
                </a:lnTo>
                <a:lnTo>
                  <a:pt x="338" y="2057"/>
                </a:lnTo>
                <a:lnTo>
                  <a:pt x="357" y="2088"/>
                </a:lnTo>
                <a:lnTo>
                  <a:pt x="377" y="2119"/>
                </a:lnTo>
                <a:lnTo>
                  <a:pt x="422" y="2184"/>
                </a:lnTo>
                <a:lnTo>
                  <a:pt x="471" y="2252"/>
                </a:lnTo>
                <a:lnTo>
                  <a:pt x="525" y="2326"/>
                </a:lnTo>
                <a:lnTo>
                  <a:pt x="584" y="2405"/>
                </a:lnTo>
                <a:lnTo>
                  <a:pt x="626" y="2460"/>
                </a:lnTo>
                <a:lnTo>
                  <a:pt x="650" y="2492"/>
                </a:lnTo>
                <a:lnTo>
                  <a:pt x="675" y="2524"/>
                </a:lnTo>
                <a:lnTo>
                  <a:pt x="703" y="2561"/>
                </a:lnTo>
                <a:lnTo>
                  <a:pt x="731" y="2598"/>
                </a:lnTo>
                <a:lnTo>
                  <a:pt x="771" y="2649"/>
                </a:lnTo>
                <a:lnTo>
                  <a:pt x="812" y="2703"/>
                </a:lnTo>
                <a:lnTo>
                  <a:pt x="853" y="2757"/>
                </a:lnTo>
                <a:lnTo>
                  <a:pt x="896" y="2814"/>
                </a:lnTo>
                <a:lnTo>
                  <a:pt x="937" y="2871"/>
                </a:lnTo>
                <a:lnTo>
                  <a:pt x="979" y="2929"/>
                </a:lnTo>
                <a:lnTo>
                  <a:pt x="1018" y="2988"/>
                </a:lnTo>
                <a:lnTo>
                  <a:pt x="1057" y="3047"/>
                </a:lnTo>
                <a:lnTo>
                  <a:pt x="1094" y="3107"/>
                </a:lnTo>
                <a:lnTo>
                  <a:pt x="1128" y="3166"/>
                </a:lnTo>
                <a:lnTo>
                  <a:pt x="1144" y="3197"/>
                </a:lnTo>
                <a:lnTo>
                  <a:pt x="1159" y="3226"/>
                </a:lnTo>
                <a:lnTo>
                  <a:pt x="1174" y="3255"/>
                </a:lnTo>
                <a:lnTo>
                  <a:pt x="1188" y="3285"/>
                </a:lnTo>
                <a:lnTo>
                  <a:pt x="1201" y="3314"/>
                </a:lnTo>
                <a:lnTo>
                  <a:pt x="1212" y="3343"/>
                </a:lnTo>
                <a:lnTo>
                  <a:pt x="1224" y="3373"/>
                </a:lnTo>
                <a:lnTo>
                  <a:pt x="1233" y="3402"/>
                </a:lnTo>
                <a:lnTo>
                  <a:pt x="1242" y="3430"/>
                </a:lnTo>
                <a:lnTo>
                  <a:pt x="1250" y="3459"/>
                </a:lnTo>
                <a:lnTo>
                  <a:pt x="1256" y="3487"/>
                </a:lnTo>
                <a:lnTo>
                  <a:pt x="1261" y="3514"/>
                </a:lnTo>
                <a:lnTo>
                  <a:pt x="1264" y="3537"/>
                </a:lnTo>
                <a:lnTo>
                  <a:pt x="1267" y="3559"/>
                </a:lnTo>
                <a:lnTo>
                  <a:pt x="1269" y="3581"/>
                </a:lnTo>
                <a:lnTo>
                  <a:pt x="1270" y="3603"/>
                </a:lnTo>
                <a:lnTo>
                  <a:pt x="1270" y="3625"/>
                </a:lnTo>
                <a:lnTo>
                  <a:pt x="1269" y="3646"/>
                </a:lnTo>
                <a:lnTo>
                  <a:pt x="1268" y="3667"/>
                </a:lnTo>
                <a:lnTo>
                  <a:pt x="1267" y="3688"/>
                </a:lnTo>
                <a:lnTo>
                  <a:pt x="1264" y="3709"/>
                </a:lnTo>
                <a:lnTo>
                  <a:pt x="1261" y="3731"/>
                </a:lnTo>
                <a:lnTo>
                  <a:pt x="1256" y="3751"/>
                </a:lnTo>
                <a:lnTo>
                  <a:pt x="1252" y="3773"/>
                </a:lnTo>
                <a:lnTo>
                  <a:pt x="1242" y="3815"/>
                </a:lnTo>
                <a:lnTo>
                  <a:pt x="1228" y="3857"/>
                </a:lnTo>
                <a:lnTo>
                  <a:pt x="1214" y="3902"/>
                </a:lnTo>
                <a:lnTo>
                  <a:pt x="1195" y="3947"/>
                </a:lnTo>
                <a:lnTo>
                  <a:pt x="1176" y="3992"/>
                </a:lnTo>
                <a:lnTo>
                  <a:pt x="1155" y="4039"/>
                </a:lnTo>
                <a:lnTo>
                  <a:pt x="1106" y="4140"/>
                </a:lnTo>
                <a:lnTo>
                  <a:pt x="1052" y="4249"/>
                </a:lnTo>
                <a:lnTo>
                  <a:pt x="1024" y="4304"/>
                </a:lnTo>
                <a:lnTo>
                  <a:pt x="1024" y="4304"/>
                </a:lnTo>
                <a:lnTo>
                  <a:pt x="1011" y="4329"/>
                </a:lnTo>
                <a:lnTo>
                  <a:pt x="971" y="4410"/>
                </a:lnTo>
                <a:lnTo>
                  <a:pt x="929" y="4493"/>
                </a:lnTo>
                <a:lnTo>
                  <a:pt x="886" y="4579"/>
                </a:lnTo>
                <a:lnTo>
                  <a:pt x="844" y="4665"/>
                </a:lnTo>
                <a:lnTo>
                  <a:pt x="801" y="4752"/>
                </a:lnTo>
                <a:lnTo>
                  <a:pt x="760" y="4838"/>
                </a:lnTo>
                <a:lnTo>
                  <a:pt x="721" y="4923"/>
                </a:lnTo>
                <a:lnTo>
                  <a:pt x="683" y="5005"/>
                </a:lnTo>
                <a:lnTo>
                  <a:pt x="647" y="5087"/>
                </a:lnTo>
                <a:lnTo>
                  <a:pt x="615" y="5165"/>
                </a:lnTo>
                <a:lnTo>
                  <a:pt x="585" y="5238"/>
                </a:lnTo>
                <a:lnTo>
                  <a:pt x="559" y="5307"/>
                </a:lnTo>
                <a:lnTo>
                  <a:pt x="548" y="5340"/>
                </a:lnTo>
                <a:lnTo>
                  <a:pt x="538" y="5371"/>
                </a:lnTo>
                <a:lnTo>
                  <a:pt x="529" y="5402"/>
                </a:lnTo>
                <a:lnTo>
                  <a:pt x="521" y="5430"/>
                </a:lnTo>
                <a:lnTo>
                  <a:pt x="515" y="5457"/>
                </a:lnTo>
                <a:lnTo>
                  <a:pt x="510" y="5482"/>
                </a:lnTo>
                <a:lnTo>
                  <a:pt x="506" y="5506"/>
                </a:lnTo>
                <a:lnTo>
                  <a:pt x="504" y="5527"/>
                </a:lnTo>
                <a:lnTo>
                  <a:pt x="503" y="5554"/>
                </a:lnTo>
                <a:lnTo>
                  <a:pt x="503" y="5581"/>
                </a:lnTo>
                <a:lnTo>
                  <a:pt x="503" y="5609"/>
                </a:lnTo>
                <a:lnTo>
                  <a:pt x="505" y="5637"/>
                </a:lnTo>
                <a:lnTo>
                  <a:pt x="507" y="5664"/>
                </a:lnTo>
                <a:lnTo>
                  <a:pt x="511" y="5691"/>
                </a:lnTo>
                <a:lnTo>
                  <a:pt x="515" y="5718"/>
                </a:lnTo>
                <a:lnTo>
                  <a:pt x="520" y="5745"/>
                </a:lnTo>
                <a:lnTo>
                  <a:pt x="525" y="5773"/>
                </a:lnTo>
                <a:lnTo>
                  <a:pt x="532" y="5801"/>
                </a:lnTo>
                <a:lnTo>
                  <a:pt x="539" y="5827"/>
                </a:lnTo>
                <a:lnTo>
                  <a:pt x="547" y="5854"/>
                </a:lnTo>
                <a:lnTo>
                  <a:pt x="565" y="5908"/>
                </a:lnTo>
                <a:lnTo>
                  <a:pt x="584" y="5961"/>
                </a:lnTo>
                <a:lnTo>
                  <a:pt x="606" y="6014"/>
                </a:lnTo>
                <a:lnTo>
                  <a:pt x="629" y="6066"/>
                </a:lnTo>
                <a:lnTo>
                  <a:pt x="653" y="6117"/>
                </a:lnTo>
                <a:lnTo>
                  <a:pt x="679" y="6168"/>
                </a:lnTo>
                <a:lnTo>
                  <a:pt x="704" y="6217"/>
                </a:lnTo>
                <a:lnTo>
                  <a:pt x="731" y="6267"/>
                </a:lnTo>
                <a:lnTo>
                  <a:pt x="757" y="6315"/>
                </a:lnTo>
                <a:lnTo>
                  <a:pt x="783" y="6362"/>
                </a:lnTo>
                <a:lnTo>
                  <a:pt x="802" y="6398"/>
                </a:lnTo>
                <a:lnTo>
                  <a:pt x="849" y="6473"/>
                </a:lnTo>
                <a:lnTo>
                  <a:pt x="893" y="6547"/>
                </a:lnTo>
                <a:lnTo>
                  <a:pt x="936" y="6621"/>
                </a:lnTo>
                <a:lnTo>
                  <a:pt x="976" y="6693"/>
                </a:lnTo>
                <a:lnTo>
                  <a:pt x="1015" y="6765"/>
                </a:lnTo>
                <a:lnTo>
                  <a:pt x="1053" y="6835"/>
                </a:lnTo>
                <a:lnTo>
                  <a:pt x="1089" y="6903"/>
                </a:lnTo>
                <a:lnTo>
                  <a:pt x="1125" y="6971"/>
                </a:lnTo>
                <a:lnTo>
                  <a:pt x="1141" y="7001"/>
                </a:lnTo>
                <a:lnTo>
                  <a:pt x="1158" y="7033"/>
                </a:lnTo>
                <a:lnTo>
                  <a:pt x="1175" y="7065"/>
                </a:lnTo>
                <a:lnTo>
                  <a:pt x="1192" y="7096"/>
                </a:lnTo>
                <a:lnTo>
                  <a:pt x="1224" y="7160"/>
                </a:lnTo>
                <a:lnTo>
                  <a:pt x="1249" y="7223"/>
                </a:lnTo>
                <a:lnTo>
                  <a:pt x="1268" y="7283"/>
                </a:lnTo>
                <a:lnTo>
                  <a:pt x="1281" y="7343"/>
                </a:lnTo>
                <a:lnTo>
                  <a:pt x="1289" y="7399"/>
                </a:lnTo>
                <a:lnTo>
                  <a:pt x="1293" y="7456"/>
                </a:lnTo>
                <a:lnTo>
                  <a:pt x="1290" y="7510"/>
                </a:lnTo>
                <a:lnTo>
                  <a:pt x="1284" y="7563"/>
                </a:lnTo>
                <a:lnTo>
                  <a:pt x="1272" y="7614"/>
                </a:lnTo>
                <a:lnTo>
                  <a:pt x="1256" y="7663"/>
                </a:lnTo>
                <a:lnTo>
                  <a:pt x="1237" y="7712"/>
                </a:lnTo>
                <a:lnTo>
                  <a:pt x="1214" y="7758"/>
                </a:lnTo>
                <a:lnTo>
                  <a:pt x="1188" y="7804"/>
                </a:lnTo>
                <a:lnTo>
                  <a:pt x="1158" y="7848"/>
                </a:lnTo>
                <a:lnTo>
                  <a:pt x="1125" y="7889"/>
                </a:lnTo>
                <a:lnTo>
                  <a:pt x="1090" y="7931"/>
                </a:lnTo>
                <a:lnTo>
                  <a:pt x="1053" y="7971"/>
                </a:lnTo>
                <a:lnTo>
                  <a:pt x="1015" y="8009"/>
                </a:lnTo>
                <a:lnTo>
                  <a:pt x="973" y="8045"/>
                </a:lnTo>
                <a:lnTo>
                  <a:pt x="930" y="8081"/>
                </a:lnTo>
                <a:lnTo>
                  <a:pt x="887" y="8115"/>
                </a:lnTo>
                <a:lnTo>
                  <a:pt x="842" y="8149"/>
                </a:lnTo>
                <a:lnTo>
                  <a:pt x="796" y="8181"/>
                </a:lnTo>
                <a:lnTo>
                  <a:pt x="750" y="8211"/>
                </a:lnTo>
                <a:lnTo>
                  <a:pt x="704" y="8241"/>
                </a:lnTo>
                <a:lnTo>
                  <a:pt x="658" y="8269"/>
                </a:lnTo>
                <a:lnTo>
                  <a:pt x="611" y="8296"/>
                </a:lnTo>
                <a:lnTo>
                  <a:pt x="566" y="8322"/>
                </a:lnTo>
                <a:lnTo>
                  <a:pt x="478" y="8371"/>
                </a:lnTo>
                <a:lnTo>
                  <a:pt x="397" y="8416"/>
                </a:lnTo>
                <a:lnTo>
                  <a:pt x="359" y="8435"/>
                </a:lnTo>
                <a:lnTo>
                  <a:pt x="290" y="8306"/>
                </a:lnTo>
                <a:close/>
              </a:path>
            </a:pathLst>
          </a:custGeom>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45720" rIns="91440" bIns="45720" numCol="1" anchor="t" anchorCtr="0" compatLnSpc="1">
            <a:prstTxWarp prst="textNoShape">
              <a:avLst/>
            </a:prstTxWarp>
          </a:bodyPr>
          <a:lstStyle/>
          <a:p>
            <a:pPr defTabSz="1218987"/>
            <a:endParaRPr lang="en-US" sz="2400">
              <a:solidFill>
                <a:prstClr val="white"/>
              </a:solidFill>
              <a:latin typeface="Calibri"/>
            </a:endParaRPr>
          </a:p>
        </p:txBody>
      </p:sp>
      <p:grpSp>
        <p:nvGrpSpPr>
          <p:cNvPr id="75" name="Group 74"/>
          <p:cNvGrpSpPr/>
          <p:nvPr/>
        </p:nvGrpSpPr>
        <p:grpSpPr>
          <a:xfrm>
            <a:off x="2381046" y="5333106"/>
            <a:ext cx="355765" cy="339067"/>
            <a:chOff x="6475413" y="5907088"/>
            <a:chExt cx="295275" cy="296863"/>
          </a:xfrm>
        </p:grpSpPr>
        <p:sp>
          <p:nvSpPr>
            <p:cNvPr id="76" name="Freeform 25"/>
            <p:cNvSpPr>
              <a:spLocks/>
            </p:cNvSpPr>
            <p:nvPr/>
          </p:nvSpPr>
          <p:spPr bwMode="auto">
            <a:xfrm>
              <a:off x="6475413" y="5907088"/>
              <a:ext cx="295275" cy="296863"/>
            </a:xfrm>
            <a:custGeom>
              <a:avLst/>
              <a:gdLst>
                <a:gd name="T0" fmla="*/ 307 w 559"/>
                <a:gd name="T1" fmla="*/ 2 h 560"/>
                <a:gd name="T2" fmla="*/ 349 w 559"/>
                <a:gd name="T3" fmla="*/ 10 h 560"/>
                <a:gd name="T4" fmla="*/ 388 w 559"/>
                <a:gd name="T5" fmla="*/ 22 h 560"/>
                <a:gd name="T6" fmla="*/ 424 w 559"/>
                <a:gd name="T7" fmla="*/ 41 h 560"/>
                <a:gd name="T8" fmla="*/ 457 w 559"/>
                <a:gd name="T9" fmla="*/ 64 h 560"/>
                <a:gd name="T10" fmla="*/ 486 w 559"/>
                <a:gd name="T11" fmla="*/ 92 h 560"/>
                <a:gd name="T12" fmla="*/ 511 w 559"/>
                <a:gd name="T13" fmla="*/ 124 h 560"/>
                <a:gd name="T14" fmla="*/ 531 w 559"/>
                <a:gd name="T15" fmla="*/ 159 h 560"/>
                <a:gd name="T16" fmla="*/ 546 w 559"/>
                <a:gd name="T17" fmla="*/ 197 h 560"/>
                <a:gd name="T18" fmla="*/ 556 w 559"/>
                <a:gd name="T19" fmla="*/ 237 h 560"/>
                <a:gd name="T20" fmla="*/ 559 w 559"/>
                <a:gd name="T21" fmla="*/ 280 h 560"/>
                <a:gd name="T22" fmla="*/ 556 w 559"/>
                <a:gd name="T23" fmla="*/ 322 h 560"/>
                <a:gd name="T24" fmla="*/ 546 w 559"/>
                <a:gd name="T25" fmla="*/ 363 h 560"/>
                <a:gd name="T26" fmla="*/ 531 w 559"/>
                <a:gd name="T27" fmla="*/ 400 h 560"/>
                <a:gd name="T28" fmla="*/ 511 w 559"/>
                <a:gd name="T29" fmla="*/ 437 h 560"/>
                <a:gd name="T30" fmla="*/ 486 w 559"/>
                <a:gd name="T31" fmla="*/ 468 h 560"/>
                <a:gd name="T32" fmla="*/ 457 w 559"/>
                <a:gd name="T33" fmla="*/ 495 h 560"/>
                <a:gd name="T34" fmla="*/ 424 w 559"/>
                <a:gd name="T35" fmla="*/ 519 h 560"/>
                <a:gd name="T36" fmla="*/ 388 w 559"/>
                <a:gd name="T37" fmla="*/ 537 h 560"/>
                <a:gd name="T38" fmla="*/ 349 w 559"/>
                <a:gd name="T39" fmla="*/ 551 h 560"/>
                <a:gd name="T40" fmla="*/ 307 w 559"/>
                <a:gd name="T41" fmla="*/ 557 h 560"/>
                <a:gd name="T42" fmla="*/ 264 w 559"/>
                <a:gd name="T43" fmla="*/ 559 h 560"/>
                <a:gd name="T44" fmla="*/ 223 w 559"/>
                <a:gd name="T45" fmla="*/ 554 h 560"/>
                <a:gd name="T46" fmla="*/ 183 w 559"/>
                <a:gd name="T47" fmla="*/ 543 h 560"/>
                <a:gd name="T48" fmla="*/ 146 w 559"/>
                <a:gd name="T49" fmla="*/ 526 h 560"/>
                <a:gd name="T50" fmla="*/ 112 w 559"/>
                <a:gd name="T51" fmla="*/ 503 h 560"/>
                <a:gd name="T52" fmla="*/ 81 w 559"/>
                <a:gd name="T53" fmla="*/ 477 h 560"/>
                <a:gd name="T54" fmla="*/ 55 w 559"/>
                <a:gd name="T55" fmla="*/ 447 h 560"/>
                <a:gd name="T56" fmla="*/ 34 w 559"/>
                <a:gd name="T57" fmla="*/ 413 h 560"/>
                <a:gd name="T58" fmla="*/ 17 w 559"/>
                <a:gd name="T59" fmla="*/ 376 h 560"/>
                <a:gd name="T60" fmla="*/ 6 w 559"/>
                <a:gd name="T61" fmla="*/ 336 h 560"/>
                <a:gd name="T62" fmla="*/ 0 w 559"/>
                <a:gd name="T63" fmla="*/ 294 h 560"/>
                <a:gd name="T64" fmla="*/ 1 w 559"/>
                <a:gd name="T65" fmla="*/ 251 h 560"/>
                <a:gd name="T66" fmla="*/ 8 w 559"/>
                <a:gd name="T67" fmla="*/ 209 h 560"/>
                <a:gd name="T68" fmla="*/ 22 w 559"/>
                <a:gd name="T69" fmla="*/ 171 h 560"/>
                <a:gd name="T70" fmla="*/ 40 w 559"/>
                <a:gd name="T71" fmla="*/ 135 h 560"/>
                <a:gd name="T72" fmla="*/ 63 w 559"/>
                <a:gd name="T73" fmla="*/ 102 h 560"/>
                <a:gd name="T74" fmla="*/ 92 w 559"/>
                <a:gd name="T75" fmla="*/ 73 h 560"/>
                <a:gd name="T76" fmla="*/ 123 w 559"/>
                <a:gd name="T77" fmla="*/ 48 h 560"/>
                <a:gd name="T78" fmla="*/ 158 w 559"/>
                <a:gd name="T79" fmla="*/ 28 h 560"/>
                <a:gd name="T80" fmla="*/ 197 w 559"/>
                <a:gd name="T81" fmla="*/ 13 h 560"/>
                <a:gd name="T82" fmla="*/ 236 w 559"/>
                <a:gd name="T83" fmla="*/ 4 h 560"/>
                <a:gd name="T84" fmla="*/ 279 w 559"/>
                <a:gd name="T85" fmla="*/ 0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59" h="560">
                  <a:moveTo>
                    <a:pt x="279" y="0"/>
                  </a:moveTo>
                  <a:lnTo>
                    <a:pt x="294" y="0"/>
                  </a:lnTo>
                  <a:lnTo>
                    <a:pt x="307" y="2"/>
                  </a:lnTo>
                  <a:lnTo>
                    <a:pt x="322" y="4"/>
                  </a:lnTo>
                  <a:lnTo>
                    <a:pt x="336" y="6"/>
                  </a:lnTo>
                  <a:lnTo>
                    <a:pt x="349" y="10"/>
                  </a:lnTo>
                  <a:lnTo>
                    <a:pt x="363" y="13"/>
                  </a:lnTo>
                  <a:lnTo>
                    <a:pt x="375" y="17"/>
                  </a:lnTo>
                  <a:lnTo>
                    <a:pt x="388" y="22"/>
                  </a:lnTo>
                  <a:lnTo>
                    <a:pt x="400" y="28"/>
                  </a:lnTo>
                  <a:lnTo>
                    <a:pt x="412" y="34"/>
                  </a:lnTo>
                  <a:lnTo>
                    <a:pt x="424" y="41"/>
                  </a:lnTo>
                  <a:lnTo>
                    <a:pt x="435" y="48"/>
                  </a:lnTo>
                  <a:lnTo>
                    <a:pt x="446" y="56"/>
                  </a:lnTo>
                  <a:lnTo>
                    <a:pt x="457" y="64"/>
                  </a:lnTo>
                  <a:lnTo>
                    <a:pt x="467" y="73"/>
                  </a:lnTo>
                  <a:lnTo>
                    <a:pt x="477" y="82"/>
                  </a:lnTo>
                  <a:lnTo>
                    <a:pt x="486" y="92"/>
                  </a:lnTo>
                  <a:lnTo>
                    <a:pt x="495" y="102"/>
                  </a:lnTo>
                  <a:lnTo>
                    <a:pt x="503" y="112"/>
                  </a:lnTo>
                  <a:lnTo>
                    <a:pt x="511" y="124"/>
                  </a:lnTo>
                  <a:lnTo>
                    <a:pt x="519" y="135"/>
                  </a:lnTo>
                  <a:lnTo>
                    <a:pt x="525" y="146"/>
                  </a:lnTo>
                  <a:lnTo>
                    <a:pt x="531" y="159"/>
                  </a:lnTo>
                  <a:lnTo>
                    <a:pt x="537" y="171"/>
                  </a:lnTo>
                  <a:lnTo>
                    <a:pt x="542" y="183"/>
                  </a:lnTo>
                  <a:lnTo>
                    <a:pt x="546" y="197"/>
                  </a:lnTo>
                  <a:lnTo>
                    <a:pt x="550" y="209"/>
                  </a:lnTo>
                  <a:lnTo>
                    <a:pt x="554" y="223"/>
                  </a:lnTo>
                  <a:lnTo>
                    <a:pt x="556" y="237"/>
                  </a:lnTo>
                  <a:lnTo>
                    <a:pt x="557" y="251"/>
                  </a:lnTo>
                  <a:lnTo>
                    <a:pt x="558" y="265"/>
                  </a:lnTo>
                  <a:lnTo>
                    <a:pt x="559" y="280"/>
                  </a:lnTo>
                  <a:lnTo>
                    <a:pt x="558" y="294"/>
                  </a:lnTo>
                  <a:lnTo>
                    <a:pt x="557" y="308"/>
                  </a:lnTo>
                  <a:lnTo>
                    <a:pt x="556" y="322"/>
                  </a:lnTo>
                  <a:lnTo>
                    <a:pt x="554" y="336"/>
                  </a:lnTo>
                  <a:lnTo>
                    <a:pt x="550" y="350"/>
                  </a:lnTo>
                  <a:lnTo>
                    <a:pt x="546" y="363"/>
                  </a:lnTo>
                  <a:lnTo>
                    <a:pt x="542" y="376"/>
                  </a:lnTo>
                  <a:lnTo>
                    <a:pt x="537" y="389"/>
                  </a:lnTo>
                  <a:lnTo>
                    <a:pt x="531" y="400"/>
                  </a:lnTo>
                  <a:lnTo>
                    <a:pt x="525" y="413"/>
                  </a:lnTo>
                  <a:lnTo>
                    <a:pt x="519" y="425"/>
                  </a:lnTo>
                  <a:lnTo>
                    <a:pt x="511" y="437"/>
                  </a:lnTo>
                  <a:lnTo>
                    <a:pt x="503" y="447"/>
                  </a:lnTo>
                  <a:lnTo>
                    <a:pt x="495" y="458"/>
                  </a:lnTo>
                  <a:lnTo>
                    <a:pt x="486" y="468"/>
                  </a:lnTo>
                  <a:lnTo>
                    <a:pt x="477" y="477"/>
                  </a:lnTo>
                  <a:lnTo>
                    <a:pt x="467" y="486"/>
                  </a:lnTo>
                  <a:lnTo>
                    <a:pt x="457" y="495"/>
                  </a:lnTo>
                  <a:lnTo>
                    <a:pt x="446" y="503"/>
                  </a:lnTo>
                  <a:lnTo>
                    <a:pt x="435" y="511"/>
                  </a:lnTo>
                  <a:lnTo>
                    <a:pt x="424" y="519"/>
                  </a:lnTo>
                  <a:lnTo>
                    <a:pt x="412" y="526"/>
                  </a:lnTo>
                  <a:lnTo>
                    <a:pt x="400" y="531"/>
                  </a:lnTo>
                  <a:lnTo>
                    <a:pt x="388" y="537"/>
                  </a:lnTo>
                  <a:lnTo>
                    <a:pt x="375" y="543"/>
                  </a:lnTo>
                  <a:lnTo>
                    <a:pt x="363" y="547"/>
                  </a:lnTo>
                  <a:lnTo>
                    <a:pt x="349" y="551"/>
                  </a:lnTo>
                  <a:lnTo>
                    <a:pt x="336" y="554"/>
                  </a:lnTo>
                  <a:lnTo>
                    <a:pt x="322" y="556"/>
                  </a:lnTo>
                  <a:lnTo>
                    <a:pt x="307" y="557"/>
                  </a:lnTo>
                  <a:lnTo>
                    <a:pt x="294" y="559"/>
                  </a:lnTo>
                  <a:lnTo>
                    <a:pt x="279" y="560"/>
                  </a:lnTo>
                  <a:lnTo>
                    <a:pt x="264" y="559"/>
                  </a:lnTo>
                  <a:lnTo>
                    <a:pt x="251" y="557"/>
                  </a:lnTo>
                  <a:lnTo>
                    <a:pt x="236" y="556"/>
                  </a:lnTo>
                  <a:lnTo>
                    <a:pt x="223" y="554"/>
                  </a:lnTo>
                  <a:lnTo>
                    <a:pt x="209" y="551"/>
                  </a:lnTo>
                  <a:lnTo>
                    <a:pt x="197" y="547"/>
                  </a:lnTo>
                  <a:lnTo>
                    <a:pt x="183" y="543"/>
                  </a:lnTo>
                  <a:lnTo>
                    <a:pt x="171" y="537"/>
                  </a:lnTo>
                  <a:lnTo>
                    <a:pt x="158" y="531"/>
                  </a:lnTo>
                  <a:lnTo>
                    <a:pt x="146" y="526"/>
                  </a:lnTo>
                  <a:lnTo>
                    <a:pt x="134" y="519"/>
                  </a:lnTo>
                  <a:lnTo>
                    <a:pt x="123" y="511"/>
                  </a:lnTo>
                  <a:lnTo>
                    <a:pt x="112" y="503"/>
                  </a:lnTo>
                  <a:lnTo>
                    <a:pt x="102" y="495"/>
                  </a:lnTo>
                  <a:lnTo>
                    <a:pt x="92" y="486"/>
                  </a:lnTo>
                  <a:lnTo>
                    <a:pt x="81" y="477"/>
                  </a:lnTo>
                  <a:lnTo>
                    <a:pt x="72" y="468"/>
                  </a:lnTo>
                  <a:lnTo>
                    <a:pt x="63" y="458"/>
                  </a:lnTo>
                  <a:lnTo>
                    <a:pt x="55" y="447"/>
                  </a:lnTo>
                  <a:lnTo>
                    <a:pt x="47" y="437"/>
                  </a:lnTo>
                  <a:lnTo>
                    <a:pt x="40" y="425"/>
                  </a:lnTo>
                  <a:lnTo>
                    <a:pt x="34" y="413"/>
                  </a:lnTo>
                  <a:lnTo>
                    <a:pt x="27" y="400"/>
                  </a:lnTo>
                  <a:lnTo>
                    <a:pt x="22" y="389"/>
                  </a:lnTo>
                  <a:lnTo>
                    <a:pt x="17" y="376"/>
                  </a:lnTo>
                  <a:lnTo>
                    <a:pt x="12" y="363"/>
                  </a:lnTo>
                  <a:lnTo>
                    <a:pt x="8" y="350"/>
                  </a:lnTo>
                  <a:lnTo>
                    <a:pt x="6" y="336"/>
                  </a:lnTo>
                  <a:lnTo>
                    <a:pt x="2" y="322"/>
                  </a:lnTo>
                  <a:lnTo>
                    <a:pt x="1" y="308"/>
                  </a:lnTo>
                  <a:lnTo>
                    <a:pt x="0" y="294"/>
                  </a:lnTo>
                  <a:lnTo>
                    <a:pt x="0" y="280"/>
                  </a:lnTo>
                  <a:lnTo>
                    <a:pt x="0" y="265"/>
                  </a:lnTo>
                  <a:lnTo>
                    <a:pt x="1" y="251"/>
                  </a:lnTo>
                  <a:lnTo>
                    <a:pt x="2" y="237"/>
                  </a:lnTo>
                  <a:lnTo>
                    <a:pt x="6" y="223"/>
                  </a:lnTo>
                  <a:lnTo>
                    <a:pt x="8" y="209"/>
                  </a:lnTo>
                  <a:lnTo>
                    <a:pt x="12" y="197"/>
                  </a:lnTo>
                  <a:lnTo>
                    <a:pt x="17" y="183"/>
                  </a:lnTo>
                  <a:lnTo>
                    <a:pt x="22" y="171"/>
                  </a:lnTo>
                  <a:lnTo>
                    <a:pt x="27" y="159"/>
                  </a:lnTo>
                  <a:lnTo>
                    <a:pt x="34" y="146"/>
                  </a:lnTo>
                  <a:lnTo>
                    <a:pt x="40" y="135"/>
                  </a:lnTo>
                  <a:lnTo>
                    <a:pt x="47" y="124"/>
                  </a:lnTo>
                  <a:lnTo>
                    <a:pt x="55" y="112"/>
                  </a:lnTo>
                  <a:lnTo>
                    <a:pt x="63" y="102"/>
                  </a:lnTo>
                  <a:lnTo>
                    <a:pt x="72" y="92"/>
                  </a:lnTo>
                  <a:lnTo>
                    <a:pt x="81" y="82"/>
                  </a:lnTo>
                  <a:lnTo>
                    <a:pt x="92" y="73"/>
                  </a:lnTo>
                  <a:lnTo>
                    <a:pt x="102" y="64"/>
                  </a:lnTo>
                  <a:lnTo>
                    <a:pt x="112" y="56"/>
                  </a:lnTo>
                  <a:lnTo>
                    <a:pt x="123" y="48"/>
                  </a:lnTo>
                  <a:lnTo>
                    <a:pt x="134" y="41"/>
                  </a:lnTo>
                  <a:lnTo>
                    <a:pt x="146" y="34"/>
                  </a:lnTo>
                  <a:lnTo>
                    <a:pt x="158" y="28"/>
                  </a:lnTo>
                  <a:lnTo>
                    <a:pt x="171" y="22"/>
                  </a:lnTo>
                  <a:lnTo>
                    <a:pt x="183" y="17"/>
                  </a:lnTo>
                  <a:lnTo>
                    <a:pt x="197" y="13"/>
                  </a:lnTo>
                  <a:lnTo>
                    <a:pt x="209" y="10"/>
                  </a:lnTo>
                  <a:lnTo>
                    <a:pt x="223" y="6"/>
                  </a:lnTo>
                  <a:lnTo>
                    <a:pt x="236" y="4"/>
                  </a:lnTo>
                  <a:lnTo>
                    <a:pt x="251" y="2"/>
                  </a:lnTo>
                  <a:lnTo>
                    <a:pt x="264" y="0"/>
                  </a:lnTo>
                  <a:lnTo>
                    <a:pt x="279"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1218987"/>
              <a:endParaRPr lang="en-US" sz="2400">
                <a:solidFill>
                  <a:prstClr val="black"/>
                </a:solidFill>
                <a:latin typeface="Calibri"/>
              </a:endParaRPr>
            </a:p>
          </p:txBody>
        </p:sp>
        <p:sp>
          <p:nvSpPr>
            <p:cNvPr id="77" name="Freeform 26"/>
            <p:cNvSpPr>
              <a:spLocks/>
            </p:cNvSpPr>
            <p:nvPr/>
          </p:nvSpPr>
          <p:spPr bwMode="auto">
            <a:xfrm>
              <a:off x="6529738" y="5962650"/>
              <a:ext cx="184150" cy="185738"/>
            </a:xfrm>
            <a:custGeom>
              <a:avLst/>
              <a:gdLst>
                <a:gd name="T0" fmla="*/ 193 w 350"/>
                <a:gd name="T1" fmla="*/ 2 h 351"/>
                <a:gd name="T2" fmla="*/ 227 w 350"/>
                <a:gd name="T3" fmla="*/ 8 h 351"/>
                <a:gd name="T4" fmla="*/ 259 w 350"/>
                <a:gd name="T5" fmla="*/ 22 h 351"/>
                <a:gd name="T6" fmla="*/ 287 w 350"/>
                <a:gd name="T7" fmla="*/ 40 h 351"/>
                <a:gd name="T8" fmla="*/ 311 w 350"/>
                <a:gd name="T9" fmla="*/ 65 h 351"/>
                <a:gd name="T10" fmla="*/ 330 w 350"/>
                <a:gd name="T11" fmla="*/ 92 h 351"/>
                <a:gd name="T12" fmla="*/ 342 w 350"/>
                <a:gd name="T13" fmla="*/ 124 h 351"/>
                <a:gd name="T14" fmla="*/ 349 w 350"/>
                <a:gd name="T15" fmla="*/ 157 h 351"/>
                <a:gd name="T16" fmla="*/ 349 w 350"/>
                <a:gd name="T17" fmla="*/ 194 h 351"/>
                <a:gd name="T18" fmla="*/ 342 w 350"/>
                <a:gd name="T19" fmla="*/ 227 h 351"/>
                <a:gd name="T20" fmla="*/ 330 w 350"/>
                <a:gd name="T21" fmla="*/ 259 h 351"/>
                <a:gd name="T22" fmla="*/ 311 w 350"/>
                <a:gd name="T23" fmla="*/ 287 h 351"/>
                <a:gd name="T24" fmla="*/ 287 w 350"/>
                <a:gd name="T25" fmla="*/ 311 h 351"/>
                <a:gd name="T26" fmla="*/ 259 w 350"/>
                <a:gd name="T27" fmla="*/ 330 h 351"/>
                <a:gd name="T28" fmla="*/ 227 w 350"/>
                <a:gd name="T29" fmla="*/ 343 h 351"/>
                <a:gd name="T30" fmla="*/ 193 w 350"/>
                <a:gd name="T31" fmla="*/ 351 h 351"/>
                <a:gd name="T32" fmla="*/ 157 w 350"/>
                <a:gd name="T33" fmla="*/ 351 h 351"/>
                <a:gd name="T34" fmla="*/ 123 w 350"/>
                <a:gd name="T35" fmla="*/ 343 h 351"/>
                <a:gd name="T36" fmla="*/ 92 w 350"/>
                <a:gd name="T37" fmla="*/ 330 h 351"/>
                <a:gd name="T38" fmla="*/ 63 w 350"/>
                <a:gd name="T39" fmla="*/ 311 h 351"/>
                <a:gd name="T40" fmla="*/ 40 w 350"/>
                <a:gd name="T41" fmla="*/ 287 h 351"/>
                <a:gd name="T42" fmla="*/ 21 w 350"/>
                <a:gd name="T43" fmla="*/ 259 h 351"/>
                <a:gd name="T44" fmla="*/ 8 w 350"/>
                <a:gd name="T45" fmla="*/ 227 h 351"/>
                <a:gd name="T46" fmla="*/ 1 w 350"/>
                <a:gd name="T47" fmla="*/ 194 h 351"/>
                <a:gd name="T48" fmla="*/ 1 w 350"/>
                <a:gd name="T49" fmla="*/ 157 h 351"/>
                <a:gd name="T50" fmla="*/ 8 w 350"/>
                <a:gd name="T51" fmla="*/ 124 h 351"/>
                <a:gd name="T52" fmla="*/ 21 w 350"/>
                <a:gd name="T53" fmla="*/ 92 h 351"/>
                <a:gd name="T54" fmla="*/ 40 w 350"/>
                <a:gd name="T55" fmla="*/ 65 h 351"/>
                <a:gd name="T56" fmla="*/ 63 w 350"/>
                <a:gd name="T57" fmla="*/ 40 h 351"/>
                <a:gd name="T58" fmla="*/ 92 w 350"/>
                <a:gd name="T59" fmla="*/ 22 h 351"/>
                <a:gd name="T60" fmla="*/ 123 w 350"/>
                <a:gd name="T61" fmla="*/ 8 h 351"/>
                <a:gd name="T62" fmla="*/ 157 w 350"/>
                <a:gd name="T63" fmla="*/ 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0" h="351">
                  <a:moveTo>
                    <a:pt x="175" y="0"/>
                  </a:moveTo>
                  <a:lnTo>
                    <a:pt x="193" y="2"/>
                  </a:lnTo>
                  <a:lnTo>
                    <a:pt x="210" y="4"/>
                  </a:lnTo>
                  <a:lnTo>
                    <a:pt x="227" y="8"/>
                  </a:lnTo>
                  <a:lnTo>
                    <a:pt x="243" y="14"/>
                  </a:lnTo>
                  <a:lnTo>
                    <a:pt x="259" y="22"/>
                  </a:lnTo>
                  <a:lnTo>
                    <a:pt x="273" y="31"/>
                  </a:lnTo>
                  <a:lnTo>
                    <a:pt x="287" y="40"/>
                  </a:lnTo>
                  <a:lnTo>
                    <a:pt x="299" y="51"/>
                  </a:lnTo>
                  <a:lnTo>
                    <a:pt x="311" y="65"/>
                  </a:lnTo>
                  <a:lnTo>
                    <a:pt x="321" y="77"/>
                  </a:lnTo>
                  <a:lnTo>
                    <a:pt x="330" y="92"/>
                  </a:lnTo>
                  <a:lnTo>
                    <a:pt x="337" y="108"/>
                  </a:lnTo>
                  <a:lnTo>
                    <a:pt x="342" y="124"/>
                  </a:lnTo>
                  <a:lnTo>
                    <a:pt x="347" y="140"/>
                  </a:lnTo>
                  <a:lnTo>
                    <a:pt x="349" y="157"/>
                  </a:lnTo>
                  <a:lnTo>
                    <a:pt x="350" y="176"/>
                  </a:lnTo>
                  <a:lnTo>
                    <a:pt x="349" y="194"/>
                  </a:lnTo>
                  <a:lnTo>
                    <a:pt x="347" y="211"/>
                  </a:lnTo>
                  <a:lnTo>
                    <a:pt x="342" y="227"/>
                  </a:lnTo>
                  <a:lnTo>
                    <a:pt x="337" y="244"/>
                  </a:lnTo>
                  <a:lnTo>
                    <a:pt x="330" y="259"/>
                  </a:lnTo>
                  <a:lnTo>
                    <a:pt x="321" y="274"/>
                  </a:lnTo>
                  <a:lnTo>
                    <a:pt x="311" y="287"/>
                  </a:lnTo>
                  <a:lnTo>
                    <a:pt x="299" y="300"/>
                  </a:lnTo>
                  <a:lnTo>
                    <a:pt x="287" y="311"/>
                  </a:lnTo>
                  <a:lnTo>
                    <a:pt x="273" y="321"/>
                  </a:lnTo>
                  <a:lnTo>
                    <a:pt x="259" y="330"/>
                  </a:lnTo>
                  <a:lnTo>
                    <a:pt x="243" y="337"/>
                  </a:lnTo>
                  <a:lnTo>
                    <a:pt x="227" y="343"/>
                  </a:lnTo>
                  <a:lnTo>
                    <a:pt x="210" y="347"/>
                  </a:lnTo>
                  <a:lnTo>
                    <a:pt x="193" y="351"/>
                  </a:lnTo>
                  <a:lnTo>
                    <a:pt x="175" y="351"/>
                  </a:lnTo>
                  <a:lnTo>
                    <a:pt x="157" y="351"/>
                  </a:lnTo>
                  <a:lnTo>
                    <a:pt x="140" y="347"/>
                  </a:lnTo>
                  <a:lnTo>
                    <a:pt x="123" y="343"/>
                  </a:lnTo>
                  <a:lnTo>
                    <a:pt x="107" y="337"/>
                  </a:lnTo>
                  <a:lnTo>
                    <a:pt x="92" y="330"/>
                  </a:lnTo>
                  <a:lnTo>
                    <a:pt x="77" y="321"/>
                  </a:lnTo>
                  <a:lnTo>
                    <a:pt x="63" y="311"/>
                  </a:lnTo>
                  <a:lnTo>
                    <a:pt x="51" y="300"/>
                  </a:lnTo>
                  <a:lnTo>
                    <a:pt x="40" y="287"/>
                  </a:lnTo>
                  <a:lnTo>
                    <a:pt x="29" y="274"/>
                  </a:lnTo>
                  <a:lnTo>
                    <a:pt x="21" y="259"/>
                  </a:lnTo>
                  <a:lnTo>
                    <a:pt x="14" y="244"/>
                  </a:lnTo>
                  <a:lnTo>
                    <a:pt x="8" y="227"/>
                  </a:lnTo>
                  <a:lnTo>
                    <a:pt x="3" y="211"/>
                  </a:lnTo>
                  <a:lnTo>
                    <a:pt x="1" y="194"/>
                  </a:lnTo>
                  <a:lnTo>
                    <a:pt x="0" y="176"/>
                  </a:lnTo>
                  <a:lnTo>
                    <a:pt x="1" y="157"/>
                  </a:lnTo>
                  <a:lnTo>
                    <a:pt x="3" y="140"/>
                  </a:lnTo>
                  <a:lnTo>
                    <a:pt x="8" y="124"/>
                  </a:lnTo>
                  <a:lnTo>
                    <a:pt x="14" y="108"/>
                  </a:lnTo>
                  <a:lnTo>
                    <a:pt x="21" y="92"/>
                  </a:lnTo>
                  <a:lnTo>
                    <a:pt x="29" y="77"/>
                  </a:lnTo>
                  <a:lnTo>
                    <a:pt x="40" y="65"/>
                  </a:lnTo>
                  <a:lnTo>
                    <a:pt x="51" y="51"/>
                  </a:lnTo>
                  <a:lnTo>
                    <a:pt x="63" y="40"/>
                  </a:lnTo>
                  <a:lnTo>
                    <a:pt x="77" y="31"/>
                  </a:lnTo>
                  <a:lnTo>
                    <a:pt x="92" y="22"/>
                  </a:lnTo>
                  <a:lnTo>
                    <a:pt x="107" y="14"/>
                  </a:lnTo>
                  <a:lnTo>
                    <a:pt x="123" y="8"/>
                  </a:lnTo>
                  <a:lnTo>
                    <a:pt x="140" y="4"/>
                  </a:lnTo>
                  <a:lnTo>
                    <a:pt x="157" y="2"/>
                  </a:lnTo>
                  <a:lnTo>
                    <a:pt x="175" y="0"/>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prstClr val="black"/>
                </a:solidFill>
                <a:latin typeface="Calibri"/>
              </a:endParaRPr>
            </a:p>
          </p:txBody>
        </p:sp>
      </p:grpSp>
      <p:grpSp>
        <p:nvGrpSpPr>
          <p:cNvPr id="82" name="Group 81"/>
          <p:cNvGrpSpPr/>
          <p:nvPr/>
        </p:nvGrpSpPr>
        <p:grpSpPr>
          <a:xfrm>
            <a:off x="1860895" y="4236520"/>
            <a:ext cx="355765" cy="339067"/>
            <a:chOff x="6475413" y="5907088"/>
            <a:chExt cx="295275" cy="296863"/>
          </a:xfrm>
        </p:grpSpPr>
        <p:sp>
          <p:nvSpPr>
            <p:cNvPr id="83" name="Freeform 25"/>
            <p:cNvSpPr>
              <a:spLocks/>
            </p:cNvSpPr>
            <p:nvPr/>
          </p:nvSpPr>
          <p:spPr bwMode="auto">
            <a:xfrm>
              <a:off x="6475413" y="5907088"/>
              <a:ext cx="295275" cy="296863"/>
            </a:xfrm>
            <a:custGeom>
              <a:avLst/>
              <a:gdLst>
                <a:gd name="T0" fmla="*/ 307 w 559"/>
                <a:gd name="T1" fmla="*/ 2 h 560"/>
                <a:gd name="T2" fmla="*/ 349 w 559"/>
                <a:gd name="T3" fmla="*/ 10 h 560"/>
                <a:gd name="T4" fmla="*/ 388 w 559"/>
                <a:gd name="T5" fmla="*/ 22 h 560"/>
                <a:gd name="T6" fmla="*/ 424 w 559"/>
                <a:gd name="T7" fmla="*/ 41 h 560"/>
                <a:gd name="T8" fmla="*/ 457 w 559"/>
                <a:gd name="T9" fmla="*/ 64 h 560"/>
                <a:gd name="T10" fmla="*/ 486 w 559"/>
                <a:gd name="T11" fmla="*/ 92 h 560"/>
                <a:gd name="T12" fmla="*/ 511 w 559"/>
                <a:gd name="T13" fmla="*/ 124 h 560"/>
                <a:gd name="T14" fmla="*/ 531 w 559"/>
                <a:gd name="T15" fmla="*/ 159 h 560"/>
                <a:gd name="T16" fmla="*/ 546 w 559"/>
                <a:gd name="T17" fmla="*/ 197 h 560"/>
                <a:gd name="T18" fmla="*/ 556 w 559"/>
                <a:gd name="T19" fmla="*/ 237 h 560"/>
                <a:gd name="T20" fmla="*/ 559 w 559"/>
                <a:gd name="T21" fmla="*/ 280 h 560"/>
                <a:gd name="T22" fmla="*/ 556 w 559"/>
                <a:gd name="T23" fmla="*/ 322 h 560"/>
                <a:gd name="T24" fmla="*/ 546 w 559"/>
                <a:gd name="T25" fmla="*/ 363 h 560"/>
                <a:gd name="T26" fmla="*/ 531 w 559"/>
                <a:gd name="T27" fmla="*/ 400 h 560"/>
                <a:gd name="T28" fmla="*/ 511 w 559"/>
                <a:gd name="T29" fmla="*/ 437 h 560"/>
                <a:gd name="T30" fmla="*/ 486 w 559"/>
                <a:gd name="T31" fmla="*/ 468 h 560"/>
                <a:gd name="T32" fmla="*/ 457 w 559"/>
                <a:gd name="T33" fmla="*/ 495 h 560"/>
                <a:gd name="T34" fmla="*/ 424 w 559"/>
                <a:gd name="T35" fmla="*/ 519 h 560"/>
                <a:gd name="T36" fmla="*/ 388 w 559"/>
                <a:gd name="T37" fmla="*/ 537 h 560"/>
                <a:gd name="T38" fmla="*/ 349 w 559"/>
                <a:gd name="T39" fmla="*/ 551 h 560"/>
                <a:gd name="T40" fmla="*/ 307 w 559"/>
                <a:gd name="T41" fmla="*/ 557 h 560"/>
                <a:gd name="T42" fmla="*/ 264 w 559"/>
                <a:gd name="T43" fmla="*/ 559 h 560"/>
                <a:gd name="T44" fmla="*/ 223 w 559"/>
                <a:gd name="T45" fmla="*/ 554 h 560"/>
                <a:gd name="T46" fmla="*/ 183 w 559"/>
                <a:gd name="T47" fmla="*/ 543 h 560"/>
                <a:gd name="T48" fmla="*/ 146 w 559"/>
                <a:gd name="T49" fmla="*/ 526 h 560"/>
                <a:gd name="T50" fmla="*/ 112 w 559"/>
                <a:gd name="T51" fmla="*/ 503 h 560"/>
                <a:gd name="T52" fmla="*/ 81 w 559"/>
                <a:gd name="T53" fmla="*/ 477 h 560"/>
                <a:gd name="T54" fmla="*/ 55 w 559"/>
                <a:gd name="T55" fmla="*/ 447 h 560"/>
                <a:gd name="T56" fmla="*/ 34 w 559"/>
                <a:gd name="T57" fmla="*/ 413 h 560"/>
                <a:gd name="T58" fmla="*/ 17 w 559"/>
                <a:gd name="T59" fmla="*/ 376 h 560"/>
                <a:gd name="T60" fmla="*/ 6 w 559"/>
                <a:gd name="T61" fmla="*/ 336 h 560"/>
                <a:gd name="T62" fmla="*/ 0 w 559"/>
                <a:gd name="T63" fmla="*/ 294 h 560"/>
                <a:gd name="T64" fmla="*/ 1 w 559"/>
                <a:gd name="T65" fmla="*/ 251 h 560"/>
                <a:gd name="T66" fmla="*/ 8 w 559"/>
                <a:gd name="T67" fmla="*/ 209 h 560"/>
                <a:gd name="T68" fmla="*/ 22 w 559"/>
                <a:gd name="T69" fmla="*/ 171 h 560"/>
                <a:gd name="T70" fmla="*/ 40 w 559"/>
                <a:gd name="T71" fmla="*/ 135 h 560"/>
                <a:gd name="T72" fmla="*/ 63 w 559"/>
                <a:gd name="T73" fmla="*/ 102 h 560"/>
                <a:gd name="T74" fmla="*/ 92 w 559"/>
                <a:gd name="T75" fmla="*/ 73 h 560"/>
                <a:gd name="T76" fmla="*/ 123 w 559"/>
                <a:gd name="T77" fmla="*/ 48 h 560"/>
                <a:gd name="T78" fmla="*/ 158 w 559"/>
                <a:gd name="T79" fmla="*/ 28 h 560"/>
                <a:gd name="T80" fmla="*/ 197 w 559"/>
                <a:gd name="T81" fmla="*/ 13 h 560"/>
                <a:gd name="T82" fmla="*/ 236 w 559"/>
                <a:gd name="T83" fmla="*/ 4 h 560"/>
                <a:gd name="T84" fmla="*/ 279 w 559"/>
                <a:gd name="T85" fmla="*/ 0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59" h="560">
                  <a:moveTo>
                    <a:pt x="279" y="0"/>
                  </a:moveTo>
                  <a:lnTo>
                    <a:pt x="294" y="0"/>
                  </a:lnTo>
                  <a:lnTo>
                    <a:pt x="307" y="2"/>
                  </a:lnTo>
                  <a:lnTo>
                    <a:pt x="322" y="4"/>
                  </a:lnTo>
                  <a:lnTo>
                    <a:pt x="336" y="6"/>
                  </a:lnTo>
                  <a:lnTo>
                    <a:pt x="349" y="10"/>
                  </a:lnTo>
                  <a:lnTo>
                    <a:pt x="363" y="13"/>
                  </a:lnTo>
                  <a:lnTo>
                    <a:pt x="375" y="17"/>
                  </a:lnTo>
                  <a:lnTo>
                    <a:pt x="388" y="22"/>
                  </a:lnTo>
                  <a:lnTo>
                    <a:pt x="400" y="28"/>
                  </a:lnTo>
                  <a:lnTo>
                    <a:pt x="412" y="34"/>
                  </a:lnTo>
                  <a:lnTo>
                    <a:pt x="424" y="41"/>
                  </a:lnTo>
                  <a:lnTo>
                    <a:pt x="435" y="48"/>
                  </a:lnTo>
                  <a:lnTo>
                    <a:pt x="446" y="56"/>
                  </a:lnTo>
                  <a:lnTo>
                    <a:pt x="457" y="64"/>
                  </a:lnTo>
                  <a:lnTo>
                    <a:pt x="467" y="73"/>
                  </a:lnTo>
                  <a:lnTo>
                    <a:pt x="477" y="82"/>
                  </a:lnTo>
                  <a:lnTo>
                    <a:pt x="486" y="92"/>
                  </a:lnTo>
                  <a:lnTo>
                    <a:pt x="495" y="102"/>
                  </a:lnTo>
                  <a:lnTo>
                    <a:pt x="503" y="112"/>
                  </a:lnTo>
                  <a:lnTo>
                    <a:pt x="511" y="124"/>
                  </a:lnTo>
                  <a:lnTo>
                    <a:pt x="519" y="135"/>
                  </a:lnTo>
                  <a:lnTo>
                    <a:pt x="525" y="146"/>
                  </a:lnTo>
                  <a:lnTo>
                    <a:pt x="531" y="159"/>
                  </a:lnTo>
                  <a:lnTo>
                    <a:pt x="537" y="171"/>
                  </a:lnTo>
                  <a:lnTo>
                    <a:pt x="542" y="183"/>
                  </a:lnTo>
                  <a:lnTo>
                    <a:pt x="546" y="197"/>
                  </a:lnTo>
                  <a:lnTo>
                    <a:pt x="550" y="209"/>
                  </a:lnTo>
                  <a:lnTo>
                    <a:pt x="554" y="223"/>
                  </a:lnTo>
                  <a:lnTo>
                    <a:pt x="556" y="237"/>
                  </a:lnTo>
                  <a:lnTo>
                    <a:pt x="557" y="251"/>
                  </a:lnTo>
                  <a:lnTo>
                    <a:pt x="558" y="265"/>
                  </a:lnTo>
                  <a:lnTo>
                    <a:pt x="559" y="280"/>
                  </a:lnTo>
                  <a:lnTo>
                    <a:pt x="558" y="294"/>
                  </a:lnTo>
                  <a:lnTo>
                    <a:pt x="557" y="308"/>
                  </a:lnTo>
                  <a:lnTo>
                    <a:pt x="556" y="322"/>
                  </a:lnTo>
                  <a:lnTo>
                    <a:pt x="554" y="336"/>
                  </a:lnTo>
                  <a:lnTo>
                    <a:pt x="550" y="350"/>
                  </a:lnTo>
                  <a:lnTo>
                    <a:pt x="546" y="363"/>
                  </a:lnTo>
                  <a:lnTo>
                    <a:pt x="542" y="376"/>
                  </a:lnTo>
                  <a:lnTo>
                    <a:pt x="537" y="389"/>
                  </a:lnTo>
                  <a:lnTo>
                    <a:pt x="531" y="400"/>
                  </a:lnTo>
                  <a:lnTo>
                    <a:pt x="525" y="413"/>
                  </a:lnTo>
                  <a:lnTo>
                    <a:pt x="519" y="425"/>
                  </a:lnTo>
                  <a:lnTo>
                    <a:pt x="511" y="437"/>
                  </a:lnTo>
                  <a:lnTo>
                    <a:pt x="503" y="447"/>
                  </a:lnTo>
                  <a:lnTo>
                    <a:pt x="495" y="458"/>
                  </a:lnTo>
                  <a:lnTo>
                    <a:pt x="486" y="468"/>
                  </a:lnTo>
                  <a:lnTo>
                    <a:pt x="477" y="477"/>
                  </a:lnTo>
                  <a:lnTo>
                    <a:pt x="467" y="486"/>
                  </a:lnTo>
                  <a:lnTo>
                    <a:pt x="457" y="495"/>
                  </a:lnTo>
                  <a:lnTo>
                    <a:pt x="446" y="503"/>
                  </a:lnTo>
                  <a:lnTo>
                    <a:pt x="435" y="511"/>
                  </a:lnTo>
                  <a:lnTo>
                    <a:pt x="424" y="519"/>
                  </a:lnTo>
                  <a:lnTo>
                    <a:pt x="412" y="526"/>
                  </a:lnTo>
                  <a:lnTo>
                    <a:pt x="400" y="531"/>
                  </a:lnTo>
                  <a:lnTo>
                    <a:pt x="388" y="537"/>
                  </a:lnTo>
                  <a:lnTo>
                    <a:pt x="375" y="543"/>
                  </a:lnTo>
                  <a:lnTo>
                    <a:pt x="363" y="547"/>
                  </a:lnTo>
                  <a:lnTo>
                    <a:pt x="349" y="551"/>
                  </a:lnTo>
                  <a:lnTo>
                    <a:pt x="336" y="554"/>
                  </a:lnTo>
                  <a:lnTo>
                    <a:pt x="322" y="556"/>
                  </a:lnTo>
                  <a:lnTo>
                    <a:pt x="307" y="557"/>
                  </a:lnTo>
                  <a:lnTo>
                    <a:pt x="294" y="559"/>
                  </a:lnTo>
                  <a:lnTo>
                    <a:pt x="279" y="560"/>
                  </a:lnTo>
                  <a:lnTo>
                    <a:pt x="264" y="559"/>
                  </a:lnTo>
                  <a:lnTo>
                    <a:pt x="251" y="557"/>
                  </a:lnTo>
                  <a:lnTo>
                    <a:pt x="236" y="556"/>
                  </a:lnTo>
                  <a:lnTo>
                    <a:pt x="223" y="554"/>
                  </a:lnTo>
                  <a:lnTo>
                    <a:pt x="209" y="551"/>
                  </a:lnTo>
                  <a:lnTo>
                    <a:pt x="197" y="547"/>
                  </a:lnTo>
                  <a:lnTo>
                    <a:pt x="183" y="543"/>
                  </a:lnTo>
                  <a:lnTo>
                    <a:pt x="171" y="537"/>
                  </a:lnTo>
                  <a:lnTo>
                    <a:pt x="158" y="531"/>
                  </a:lnTo>
                  <a:lnTo>
                    <a:pt x="146" y="526"/>
                  </a:lnTo>
                  <a:lnTo>
                    <a:pt x="134" y="519"/>
                  </a:lnTo>
                  <a:lnTo>
                    <a:pt x="123" y="511"/>
                  </a:lnTo>
                  <a:lnTo>
                    <a:pt x="112" y="503"/>
                  </a:lnTo>
                  <a:lnTo>
                    <a:pt x="102" y="495"/>
                  </a:lnTo>
                  <a:lnTo>
                    <a:pt x="92" y="486"/>
                  </a:lnTo>
                  <a:lnTo>
                    <a:pt x="81" y="477"/>
                  </a:lnTo>
                  <a:lnTo>
                    <a:pt x="72" y="468"/>
                  </a:lnTo>
                  <a:lnTo>
                    <a:pt x="63" y="458"/>
                  </a:lnTo>
                  <a:lnTo>
                    <a:pt x="55" y="447"/>
                  </a:lnTo>
                  <a:lnTo>
                    <a:pt x="47" y="437"/>
                  </a:lnTo>
                  <a:lnTo>
                    <a:pt x="40" y="425"/>
                  </a:lnTo>
                  <a:lnTo>
                    <a:pt x="34" y="413"/>
                  </a:lnTo>
                  <a:lnTo>
                    <a:pt x="27" y="400"/>
                  </a:lnTo>
                  <a:lnTo>
                    <a:pt x="22" y="389"/>
                  </a:lnTo>
                  <a:lnTo>
                    <a:pt x="17" y="376"/>
                  </a:lnTo>
                  <a:lnTo>
                    <a:pt x="12" y="363"/>
                  </a:lnTo>
                  <a:lnTo>
                    <a:pt x="8" y="350"/>
                  </a:lnTo>
                  <a:lnTo>
                    <a:pt x="6" y="336"/>
                  </a:lnTo>
                  <a:lnTo>
                    <a:pt x="2" y="322"/>
                  </a:lnTo>
                  <a:lnTo>
                    <a:pt x="1" y="308"/>
                  </a:lnTo>
                  <a:lnTo>
                    <a:pt x="0" y="294"/>
                  </a:lnTo>
                  <a:lnTo>
                    <a:pt x="0" y="280"/>
                  </a:lnTo>
                  <a:lnTo>
                    <a:pt x="0" y="265"/>
                  </a:lnTo>
                  <a:lnTo>
                    <a:pt x="1" y="251"/>
                  </a:lnTo>
                  <a:lnTo>
                    <a:pt x="2" y="237"/>
                  </a:lnTo>
                  <a:lnTo>
                    <a:pt x="6" y="223"/>
                  </a:lnTo>
                  <a:lnTo>
                    <a:pt x="8" y="209"/>
                  </a:lnTo>
                  <a:lnTo>
                    <a:pt x="12" y="197"/>
                  </a:lnTo>
                  <a:lnTo>
                    <a:pt x="17" y="183"/>
                  </a:lnTo>
                  <a:lnTo>
                    <a:pt x="22" y="171"/>
                  </a:lnTo>
                  <a:lnTo>
                    <a:pt x="27" y="159"/>
                  </a:lnTo>
                  <a:lnTo>
                    <a:pt x="34" y="146"/>
                  </a:lnTo>
                  <a:lnTo>
                    <a:pt x="40" y="135"/>
                  </a:lnTo>
                  <a:lnTo>
                    <a:pt x="47" y="124"/>
                  </a:lnTo>
                  <a:lnTo>
                    <a:pt x="55" y="112"/>
                  </a:lnTo>
                  <a:lnTo>
                    <a:pt x="63" y="102"/>
                  </a:lnTo>
                  <a:lnTo>
                    <a:pt x="72" y="92"/>
                  </a:lnTo>
                  <a:lnTo>
                    <a:pt x="81" y="82"/>
                  </a:lnTo>
                  <a:lnTo>
                    <a:pt x="92" y="73"/>
                  </a:lnTo>
                  <a:lnTo>
                    <a:pt x="102" y="64"/>
                  </a:lnTo>
                  <a:lnTo>
                    <a:pt x="112" y="56"/>
                  </a:lnTo>
                  <a:lnTo>
                    <a:pt x="123" y="48"/>
                  </a:lnTo>
                  <a:lnTo>
                    <a:pt x="134" y="41"/>
                  </a:lnTo>
                  <a:lnTo>
                    <a:pt x="146" y="34"/>
                  </a:lnTo>
                  <a:lnTo>
                    <a:pt x="158" y="28"/>
                  </a:lnTo>
                  <a:lnTo>
                    <a:pt x="171" y="22"/>
                  </a:lnTo>
                  <a:lnTo>
                    <a:pt x="183" y="17"/>
                  </a:lnTo>
                  <a:lnTo>
                    <a:pt x="197" y="13"/>
                  </a:lnTo>
                  <a:lnTo>
                    <a:pt x="209" y="10"/>
                  </a:lnTo>
                  <a:lnTo>
                    <a:pt x="223" y="6"/>
                  </a:lnTo>
                  <a:lnTo>
                    <a:pt x="236" y="4"/>
                  </a:lnTo>
                  <a:lnTo>
                    <a:pt x="251" y="2"/>
                  </a:lnTo>
                  <a:lnTo>
                    <a:pt x="264" y="0"/>
                  </a:lnTo>
                  <a:lnTo>
                    <a:pt x="279"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1218987"/>
              <a:endParaRPr lang="en-US" sz="2400">
                <a:solidFill>
                  <a:prstClr val="black"/>
                </a:solidFill>
                <a:latin typeface="Calibri"/>
              </a:endParaRPr>
            </a:p>
          </p:txBody>
        </p:sp>
        <p:sp>
          <p:nvSpPr>
            <p:cNvPr id="84" name="Freeform 26"/>
            <p:cNvSpPr>
              <a:spLocks/>
            </p:cNvSpPr>
            <p:nvPr/>
          </p:nvSpPr>
          <p:spPr bwMode="auto">
            <a:xfrm>
              <a:off x="6529738" y="5962650"/>
              <a:ext cx="184150" cy="185738"/>
            </a:xfrm>
            <a:custGeom>
              <a:avLst/>
              <a:gdLst>
                <a:gd name="T0" fmla="*/ 193 w 350"/>
                <a:gd name="T1" fmla="*/ 2 h 351"/>
                <a:gd name="T2" fmla="*/ 227 w 350"/>
                <a:gd name="T3" fmla="*/ 8 h 351"/>
                <a:gd name="T4" fmla="*/ 259 w 350"/>
                <a:gd name="T5" fmla="*/ 22 h 351"/>
                <a:gd name="T6" fmla="*/ 287 w 350"/>
                <a:gd name="T7" fmla="*/ 40 h 351"/>
                <a:gd name="T8" fmla="*/ 311 w 350"/>
                <a:gd name="T9" fmla="*/ 65 h 351"/>
                <a:gd name="T10" fmla="*/ 330 w 350"/>
                <a:gd name="T11" fmla="*/ 92 h 351"/>
                <a:gd name="T12" fmla="*/ 342 w 350"/>
                <a:gd name="T13" fmla="*/ 124 h 351"/>
                <a:gd name="T14" fmla="*/ 349 w 350"/>
                <a:gd name="T15" fmla="*/ 157 h 351"/>
                <a:gd name="T16" fmla="*/ 349 w 350"/>
                <a:gd name="T17" fmla="*/ 194 h 351"/>
                <a:gd name="T18" fmla="*/ 342 w 350"/>
                <a:gd name="T19" fmla="*/ 227 h 351"/>
                <a:gd name="T20" fmla="*/ 330 w 350"/>
                <a:gd name="T21" fmla="*/ 259 h 351"/>
                <a:gd name="T22" fmla="*/ 311 w 350"/>
                <a:gd name="T23" fmla="*/ 287 h 351"/>
                <a:gd name="T24" fmla="*/ 287 w 350"/>
                <a:gd name="T25" fmla="*/ 311 h 351"/>
                <a:gd name="T26" fmla="*/ 259 w 350"/>
                <a:gd name="T27" fmla="*/ 330 h 351"/>
                <a:gd name="T28" fmla="*/ 227 w 350"/>
                <a:gd name="T29" fmla="*/ 343 h 351"/>
                <a:gd name="T30" fmla="*/ 193 w 350"/>
                <a:gd name="T31" fmla="*/ 351 h 351"/>
                <a:gd name="T32" fmla="*/ 157 w 350"/>
                <a:gd name="T33" fmla="*/ 351 h 351"/>
                <a:gd name="T34" fmla="*/ 123 w 350"/>
                <a:gd name="T35" fmla="*/ 343 h 351"/>
                <a:gd name="T36" fmla="*/ 92 w 350"/>
                <a:gd name="T37" fmla="*/ 330 h 351"/>
                <a:gd name="T38" fmla="*/ 63 w 350"/>
                <a:gd name="T39" fmla="*/ 311 h 351"/>
                <a:gd name="T40" fmla="*/ 40 w 350"/>
                <a:gd name="T41" fmla="*/ 287 h 351"/>
                <a:gd name="T42" fmla="*/ 21 w 350"/>
                <a:gd name="T43" fmla="*/ 259 h 351"/>
                <a:gd name="T44" fmla="*/ 8 w 350"/>
                <a:gd name="T45" fmla="*/ 227 h 351"/>
                <a:gd name="T46" fmla="*/ 1 w 350"/>
                <a:gd name="T47" fmla="*/ 194 h 351"/>
                <a:gd name="T48" fmla="*/ 1 w 350"/>
                <a:gd name="T49" fmla="*/ 157 h 351"/>
                <a:gd name="T50" fmla="*/ 8 w 350"/>
                <a:gd name="T51" fmla="*/ 124 h 351"/>
                <a:gd name="T52" fmla="*/ 21 w 350"/>
                <a:gd name="T53" fmla="*/ 92 h 351"/>
                <a:gd name="T54" fmla="*/ 40 w 350"/>
                <a:gd name="T55" fmla="*/ 65 h 351"/>
                <a:gd name="T56" fmla="*/ 63 w 350"/>
                <a:gd name="T57" fmla="*/ 40 h 351"/>
                <a:gd name="T58" fmla="*/ 92 w 350"/>
                <a:gd name="T59" fmla="*/ 22 h 351"/>
                <a:gd name="T60" fmla="*/ 123 w 350"/>
                <a:gd name="T61" fmla="*/ 8 h 351"/>
                <a:gd name="T62" fmla="*/ 157 w 350"/>
                <a:gd name="T63" fmla="*/ 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0" h="351">
                  <a:moveTo>
                    <a:pt x="175" y="0"/>
                  </a:moveTo>
                  <a:lnTo>
                    <a:pt x="193" y="2"/>
                  </a:lnTo>
                  <a:lnTo>
                    <a:pt x="210" y="4"/>
                  </a:lnTo>
                  <a:lnTo>
                    <a:pt x="227" y="8"/>
                  </a:lnTo>
                  <a:lnTo>
                    <a:pt x="243" y="14"/>
                  </a:lnTo>
                  <a:lnTo>
                    <a:pt x="259" y="22"/>
                  </a:lnTo>
                  <a:lnTo>
                    <a:pt x="273" y="31"/>
                  </a:lnTo>
                  <a:lnTo>
                    <a:pt x="287" y="40"/>
                  </a:lnTo>
                  <a:lnTo>
                    <a:pt x="299" y="51"/>
                  </a:lnTo>
                  <a:lnTo>
                    <a:pt x="311" y="65"/>
                  </a:lnTo>
                  <a:lnTo>
                    <a:pt x="321" y="77"/>
                  </a:lnTo>
                  <a:lnTo>
                    <a:pt x="330" y="92"/>
                  </a:lnTo>
                  <a:lnTo>
                    <a:pt x="337" y="108"/>
                  </a:lnTo>
                  <a:lnTo>
                    <a:pt x="342" y="124"/>
                  </a:lnTo>
                  <a:lnTo>
                    <a:pt x="347" y="140"/>
                  </a:lnTo>
                  <a:lnTo>
                    <a:pt x="349" y="157"/>
                  </a:lnTo>
                  <a:lnTo>
                    <a:pt x="350" y="176"/>
                  </a:lnTo>
                  <a:lnTo>
                    <a:pt x="349" y="194"/>
                  </a:lnTo>
                  <a:lnTo>
                    <a:pt x="347" y="211"/>
                  </a:lnTo>
                  <a:lnTo>
                    <a:pt x="342" y="227"/>
                  </a:lnTo>
                  <a:lnTo>
                    <a:pt x="337" y="244"/>
                  </a:lnTo>
                  <a:lnTo>
                    <a:pt x="330" y="259"/>
                  </a:lnTo>
                  <a:lnTo>
                    <a:pt x="321" y="274"/>
                  </a:lnTo>
                  <a:lnTo>
                    <a:pt x="311" y="287"/>
                  </a:lnTo>
                  <a:lnTo>
                    <a:pt x="299" y="300"/>
                  </a:lnTo>
                  <a:lnTo>
                    <a:pt x="287" y="311"/>
                  </a:lnTo>
                  <a:lnTo>
                    <a:pt x="273" y="321"/>
                  </a:lnTo>
                  <a:lnTo>
                    <a:pt x="259" y="330"/>
                  </a:lnTo>
                  <a:lnTo>
                    <a:pt x="243" y="337"/>
                  </a:lnTo>
                  <a:lnTo>
                    <a:pt x="227" y="343"/>
                  </a:lnTo>
                  <a:lnTo>
                    <a:pt x="210" y="347"/>
                  </a:lnTo>
                  <a:lnTo>
                    <a:pt x="193" y="351"/>
                  </a:lnTo>
                  <a:lnTo>
                    <a:pt x="175" y="351"/>
                  </a:lnTo>
                  <a:lnTo>
                    <a:pt x="157" y="351"/>
                  </a:lnTo>
                  <a:lnTo>
                    <a:pt x="140" y="347"/>
                  </a:lnTo>
                  <a:lnTo>
                    <a:pt x="123" y="343"/>
                  </a:lnTo>
                  <a:lnTo>
                    <a:pt x="107" y="337"/>
                  </a:lnTo>
                  <a:lnTo>
                    <a:pt x="92" y="330"/>
                  </a:lnTo>
                  <a:lnTo>
                    <a:pt x="77" y="321"/>
                  </a:lnTo>
                  <a:lnTo>
                    <a:pt x="63" y="311"/>
                  </a:lnTo>
                  <a:lnTo>
                    <a:pt x="51" y="300"/>
                  </a:lnTo>
                  <a:lnTo>
                    <a:pt x="40" y="287"/>
                  </a:lnTo>
                  <a:lnTo>
                    <a:pt x="29" y="274"/>
                  </a:lnTo>
                  <a:lnTo>
                    <a:pt x="21" y="259"/>
                  </a:lnTo>
                  <a:lnTo>
                    <a:pt x="14" y="244"/>
                  </a:lnTo>
                  <a:lnTo>
                    <a:pt x="8" y="227"/>
                  </a:lnTo>
                  <a:lnTo>
                    <a:pt x="3" y="211"/>
                  </a:lnTo>
                  <a:lnTo>
                    <a:pt x="1" y="194"/>
                  </a:lnTo>
                  <a:lnTo>
                    <a:pt x="0" y="176"/>
                  </a:lnTo>
                  <a:lnTo>
                    <a:pt x="1" y="157"/>
                  </a:lnTo>
                  <a:lnTo>
                    <a:pt x="3" y="140"/>
                  </a:lnTo>
                  <a:lnTo>
                    <a:pt x="8" y="124"/>
                  </a:lnTo>
                  <a:lnTo>
                    <a:pt x="14" y="108"/>
                  </a:lnTo>
                  <a:lnTo>
                    <a:pt x="21" y="92"/>
                  </a:lnTo>
                  <a:lnTo>
                    <a:pt x="29" y="77"/>
                  </a:lnTo>
                  <a:lnTo>
                    <a:pt x="40" y="65"/>
                  </a:lnTo>
                  <a:lnTo>
                    <a:pt x="51" y="51"/>
                  </a:lnTo>
                  <a:lnTo>
                    <a:pt x="63" y="40"/>
                  </a:lnTo>
                  <a:lnTo>
                    <a:pt x="77" y="31"/>
                  </a:lnTo>
                  <a:lnTo>
                    <a:pt x="92" y="22"/>
                  </a:lnTo>
                  <a:lnTo>
                    <a:pt x="107" y="14"/>
                  </a:lnTo>
                  <a:lnTo>
                    <a:pt x="123" y="8"/>
                  </a:lnTo>
                  <a:lnTo>
                    <a:pt x="140" y="4"/>
                  </a:lnTo>
                  <a:lnTo>
                    <a:pt x="157" y="2"/>
                  </a:lnTo>
                  <a:lnTo>
                    <a:pt x="175" y="0"/>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prstClr val="black"/>
                </a:solidFill>
                <a:latin typeface="Calibri"/>
              </a:endParaRPr>
            </a:p>
          </p:txBody>
        </p:sp>
      </p:grpSp>
      <p:grpSp>
        <p:nvGrpSpPr>
          <p:cNvPr id="85" name="Group 84"/>
          <p:cNvGrpSpPr/>
          <p:nvPr/>
        </p:nvGrpSpPr>
        <p:grpSpPr>
          <a:xfrm>
            <a:off x="2387319" y="3063668"/>
            <a:ext cx="355765" cy="339067"/>
            <a:chOff x="6475413" y="5907088"/>
            <a:chExt cx="295275" cy="296863"/>
          </a:xfrm>
        </p:grpSpPr>
        <p:sp>
          <p:nvSpPr>
            <p:cNvPr id="86" name="Freeform 25"/>
            <p:cNvSpPr>
              <a:spLocks/>
            </p:cNvSpPr>
            <p:nvPr/>
          </p:nvSpPr>
          <p:spPr bwMode="auto">
            <a:xfrm>
              <a:off x="6475413" y="5907088"/>
              <a:ext cx="295275" cy="296863"/>
            </a:xfrm>
            <a:custGeom>
              <a:avLst/>
              <a:gdLst>
                <a:gd name="T0" fmla="*/ 307 w 559"/>
                <a:gd name="T1" fmla="*/ 2 h 560"/>
                <a:gd name="T2" fmla="*/ 349 w 559"/>
                <a:gd name="T3" fmla="*/ 10 h 560"/>
                <a:gd name="T4" fmla="*/ 388 w 559"/>
                <a:gd name="T5" fmla="*/ 22 h 560"/>
                <a:gd name="T6" fmla="*/ 424 w 559"/>
                <a:gd name="T7" fmla="*/ 41 h 560"/>
                <a:gd name="T8" fmla="*/ 457 w 559"/>
                <a:gd name="T9" fmla="*/ 64 h 560"/>
                <a:gd name="T10" fmla="*/ 486 w 559"/>
                <a:gd name="T11" fmla="*/ 92 h 560"/>
                <a:gd name="T12" fmla="*/ 511 w 559"/>
                <a:gd name="T13" fmla="*/ 124 h 560"/>
                <a:gd name="T14" fmla="*/ 531 w 559"/>
                <a:gd name="T15" fmla="*/ 159 h 560"/>
                <a:gd name="T16" fmla="*/ 546 w 559"/>
                <a:gd name="T17" fmla="*/ 197 h 560"/>
                <a:gd name="T18" fmla="*/ 556 w 559"/>
                <a:gd name="T19" fmla="*/ 237 h 560"/>
                <a:gd name="T20" fmla="*/ 559 w 559"/>
                <a:gd name="T21" fmla="*/ 280 h 560"/>
                <a:gd name="T22" fmla="*/ 556 w 559"/>
                <a:gd name="T23" fmla="*/ 322 h 560"/>
                <a:gd name="T24" fmla="*/ 546 w 559"/>
                <a:gd name="T25" fmla="*/ 363 h 560"/>
                <a:gd name="T26" fmla="*/ 531 w 559"/>
                <a:gd name="T27" fmla="*/ 400 h 560"/>
                <a:gd name="T28" fmla="*/ 511 w 559"/>
                <a:gd name="T29" fmla="*/ 437 h 560"/>
                <a:gd name="T30" fmla="*/ 486 w 559"/>
                <a:gd name="T31" fmla="*/ 468 h 560"/>
                <a:gd name="T32" fmla="*/ 457 w 559"/>
                <a:gd name="T33" fmla="*/ 495 h 560"/>
                <a:gd name="T34" fmla="*/ 424 w 559"/>
                <a:gd name="T35" fmla="*/ 519 h 560"/>
                <a:gd name="T36" fmla="*/ 388 w 559"/>
                <a:gd name="T37" fmla="*/ 537 h 560"/>
                <a:gd name="T38" fmla="*/ 349 w 559"/>
                <a:gd name="T39" fmla="*/ 551 h 560"/>
                <a:gd name="T40" fmla="*/ 307 w 559"/>
                <a:gd name="T41" fmla="*/ 557 h 560"/>
                <a:gd name="T42" fmla="*/ 264 w 559"/>
                <a:gd name="T43" fmla="*/ 559 h 560"/>
                <a:gd name="T44" fmla="*/ 223 w 559"/>
                <a:gd name="T45" fmla="*/ 554 h 560"/>
                <a:gd name="T46" fmla="*/ 183 w 559"/>
                <a:gd name="T47" fmla="*/ 543 h 560"/>
                <a:gd name="T48" fmla="*/ 146 w 559"/>
                <a:gd name="T49" fmla="*/ 526 h 560"/>
                <a:gd name="T50" fmla="*/ 112 w 559"/>
                <a:gd name="T51" fmla="*/ 503 h 560"/>
                <a:gd name="T52" fmla="*/ 81 w 559"/>
                <a:gd name="T53" fmla="*/ 477 h 560"/>
                <a:gd name="T54" fmla="*/ 55 w 559"/>
                <a:gd name="T55" fmla="*/ 447 h 560"/>
                <a:gd name="T56" fmla="*/ 34 w 559"/>
                <a:gd name="T57" fmla="*/ 413 h 560"/>
                <a:gd name="T58" fmla="*/ 17 w 559"/>
                <a:gd name="T59" fmla="*/ 376 h 560"/>
                <a:gd name="T60" fmla="*/ 6 w 559"/>
                <a:gd name="T61" fmla="*/ 336 h 560"/>
                <a:gd name="T62" fmla="*/ 0 w 559"/>
                <a:gd name="T63" fmla="*/ 294 h 560"/>
                <a:gd name="T64" fmla="*/ 1 w 559"/>
                <a:gd name="T65" fmla="*/ 251 h 560"/>
                <a:gd name="T66" fmla="*/ 8 w 559"/>
                <a:gd name="T67" fmla="*/ 209 h 560"/>
                <a:gd name="T68" fmla="*/ 22 w 559"/>
                <a:gd name="T69" fmla="*/ 171 h 560"/>
                <a:gd name="T70" fmla="*/ 40 w 559"/>
                <a:gd name="T71" fmla="*/ 135 h 560"/>
                <a:gd name="T72" fmla="*/ 63 w 559"/>
                <a:gd name="T73" fmla="*/ 102 h 560"/>
                <a:gd name="T74" fmla="*/ 92 w 559"/>
                <a:gd name="T75" fmla="*/ 73 h 560"/>
                <a:gd name="T76" fmla="*/ 123 w 559"/>
                <a:gd name="T77" fmla="*/ 48 h 560"/>
                <a:gd name="T78" fmla="*/ 158 w 559"/>
                <a:gd name="T79" fmla="*/ 28 h 560"/>
                <a:gd name="T80" fmla="*/ 197 w 559"/>
                <a:gd name="T81" fmla="*/ 13 h 560"/>
                <a:gd name="T82" fmla="*/ 236 w 559"/>
                <a:gd name="T83" fmla="*/ 4 h 560"/>
                <a:gd name="T84" fmla="*/ 279 w 559"/>
                <a:gd name="T85" fmla="*/ 0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59" h="560">
                  <a:moveTo>
                    <a:pt x="279" y="0"/>
                  </a:moveTo>
                  <a:lnTo>
                    <a:pt x="294" y="0"/>
                  </a:lnTo>
                  <a:lnTo>
                    <a:pt x="307" y="2"/>
                  </a:lnTo>
                  <a:lnTo>
                    <a:pt x="322" y="4"/>
                  </a:lnTo>
                  <a:lnTo>
                    <a:pt x="336" y="6"/>
                  </a:lnTo>
                  <a:lnTo>
                    <a:pt x="349" y="10"/>
                  </a:lnTo>
                  <a:lnTo>
                    <a:pt x="363" y="13"/>
                  </a:lnTo>
                  <a:lnTo>
                    <a:pt x="375" y="17"/>
                  </a:lnTo>
                  <a:lnTo>
                    <a:pt x="388" y="22"/>
                  </a:lnTo>
                  <a:lnTo>
                    <a:pt x="400" y="28"/>
                  </a:lnTo>
                  <a:lnTo>
                    <a:pt x="412" y="34"/>
                  </a:lnTo>
                  <a:lnTo>
                    <a:pt x="424" y="41"/>
                  </a:lnTo>
                  <a:lnTo>
                    <a:pt x="435" y="48"/>
                  </a:lnTo>
                  <a:lnTo>
                    <a:pt x="446" y="56"/>
                  </a:lnTo>
                  <a:lnTo>
                    <a:pt x="457" y="64"/>
                  </a:lnTo>
                  <a:lnTo>
                    <a:pt x="467" y="73"/>
                  </a:lnTo>
                  <a:lnTo>
                    <a:pt x="477" y="82"/>
                  </a:lnTo>
                  <a:lnTo>
                    <a:pt x="486" y="92"/>
                  </a:lnTo>
                  <a:lnTo>
                    <a:pt x="495" y="102"/>
                  </a:lnTo>
                  <a:lnTo>
                    <a:pt x="503" y="112"/>
                  </a:lnTo>
                  <a:lnTo>
                    <a:pt x="511" y="124"/>
                  </a:lnTo>
                  <a:lnTo>
                    <a:pt x="519" y="135"/>
                  </a:lnTo>
                  <a:lnTo>
                    <a:pt x="525" y="146"/>
                  </a:lnTo>
                  <a:lnTo>
                    <a:pt x="531" y="159"/>
                  </a:lnTo>
                  <a:lnTo>
                    <a:pt x="537" y="171"/>
                  </a:lnTo>
                  <a:lnTo>
                    <a:pt x="542" y="183"/>
                  </a:lnTo>
                  <a:lnTo>
                    <a:pt x="546" y="197"/>
                  </a:lnTo>
                  <a:lnTo>
                    <a:pt x="550" y="209"/>
                  </a:lnTo>
                  <a:lnTo>
                    <a:pt x="554" y="223"/>
                  </a:lnTo>
                  <a:lnTo>
                    <a:pt x="556" y="237"/>
                  </a:lnTo>
                  <a:lnTo>
                    <a:pt x="557" y="251"/>
                  </a:lnTo>
                  <a:lnTo>
                    <a:pt x="558" y="265"/>
                  </a:lnTo>
                  <a:lnTo>
                    <a:pt x="559" y="280"/>
                  </a:lnTo>
                  <a:lnTo>
                    <a:pt x="558" y="294"/>
                  </a:lnTo>
                  <a:lnTo>
                    <a:pt x="557" y="308"/>
                  </a:lnTo>
                  <a:lnTo>
                    <a:pt x="556" y="322"/>
                  </a:lnTo>
                  <a:lnTo>
                    <a:pt x="554" y="336"/>
                  </a:lnTo>
                  <a:lnTo>
                    <a:pt x="550" y="350"/>
                  </a:lnTo>
                  <a:lnTo>
                    <a:pt x="546" y="363"/>
                  </a:lnTo>
                  <a:lnTo>
                    <a:pt x="542" y="376"/>
                  </a:lnTo>
                  <a:lnTo>
                    <a:pt x="537" y="389"/>
                  </a:lnTo>
                  <a:lnTo>
                    <a:pt x="531" y="400"/>
                  </a:lnTo>
                  <a:lnTo>
                    <a:pt x="525" y="413"/>
                  </a:lnTo>
                  <a:lnTo>
                    <a:pt x="519" y="425"/>
                  </a:lnTo>
                  <a:lnTo>
                    <a:pt x="511" y="437"/>
                  </a:lnTo>
                  <a:lnTo>
                    <a:pt x="503" y="447"/>
                  </a:lnTo>
                  <a:lnTo>
                    <a:pt x="495" y="458"/>
                  </a:lnTo>
                  <a:lnTo>
                    <a:pt x="486" y="468"/>
                  </a:lnTo>
                  <a:lnTo>
                    <a:pt x="477" y="477"/>
                  </a:lnTo>
                  <a:lnTo>
                    <a:pt x="467" y="486"/>
                  </a:lnTo>
                  <a:lnTo>
                    <a:pt x="457" y="495"/>
                  </a:lnTo>
                  <a:lnTo>
                    <a:pt x="446" y="503"/>
                  </a:lnTo>
                  <a:lnTo>
                    <a:pt x="435" y="511"/>
                  </a:lnTo>
                  <a:lnTo>
                    <a:pt x="424" y="519"/>
                  </a:lnTo>
                  <a:lnTo>
                    <a:pt x="412" y="526"/>
                  </a:lnTo>
                  <a:lnTo>
                    <a:pt x="400" y="531"/>
                  </a:lnTo>
                  <a:lnTo>
                    <a:pt x="388" y="537"/>
                  </a:lnTo>
                  <a:lnTo>
                    <a:pt x="375" y="543"/>
                  </a:lnTo>
                  <a:lnTo>
                    <a:pt x="363" y="547"/>
                  </a:lnTo>
                  <a:lnTo>
                    <a:pt x="349" y="551"/>
                  </a:lnTo>
                  <a:lnTo>
                    <a:pt x="336" y="554"/>
                  </a:lnTo>
                  <a:lnTo>
                    <a:pt x="322" y="556"/>
                  </a:lnTo>
                  <a:lnTo>
                    <a:pt x="307" y="557"/>
                  </a:lnTo>
                  <a:lnTo>
                    <a:pt x="294" y="559"/>
                  </a:lnTo>
                  <a:lnTo>
                    <a:pt x="279" y="560"/>
                  </a:lnTo>
                  <a:lnTo>
                    <a:pt x="264" y="559"/>
                  </a:lnTo>
                  <a:lnTo>
                    <a:pt x="251" y="557"/>
                  </a:lnTo>
                  <a:lnTo>
                    <a:pt x="236" y="556"/>
                  </a:lnTo>
                  <a:lnTo>
                    <a:pt x="223" y="554"/>
                  </a:lnTo>
                  <a:lnTo>
                    <a:pt x="209" y="551"/>
                  </a:lnTo>
                  <a:lnTo>
                    <a:pt x="197" y="547"/>
                  </a:lnTo>
                  <a:lnTo>
                    <a:pt x="183" y="543"/>
                  </a:lnTo>
                  <a:lnTo>
                    <a:pt x="171" y="537"/>
                  </a:lnTo>
                  <a:lnTo>
                    <a:pt x="158" y="531"/>
                  </a:lnTo>
                  <a:lnTo>
                    <a:pt x="146" y="526"/>
                  </a:lnTo>
                  <a:lnTo>
                    <a:pt x="134" y="519"/>
                  </a:lnTo>
                  <a:lnTo>
                    <a:pt x="123" y="511"/>
                  </a:lnTo>
                  <a:lnTo>
                    <a:pt x="112" y="503"/>
                  </a:lnTo>
                  <a:lnTo>
                    <a:pt x="102" y="495"/>
                  </a:lnTo>
                  <a:lnTo>
                    <a:pt x="92" y="486"/>
                  </a:lnTo>
                  <a:lnTo>
                    <a:pt x="81" y="477"/>
                  </a:lnTo>
                  <a:lnTo>
                    <a:pt x="72" y="468"/>
                  </a:lnTo>
                  <a:lnTo>
                    <a:pt x="63" y="458"/>
                  </a:lnTo>
                  <a:lnTo>
                    <a:pt x="55" y="447"/>
                  </a:lnTo>
                  <a:lnTo>
                    <a:pt x="47" y="437"/>
                  </a:lnTo>
                  <a:lnTo>
                    <a:pt x="40" y="425"/>
                  </a:lnTo>
                  <a:lnTo>
                    <a:pt x="34" y="413"/>
                  </a:lnTo>
                  <a:lnTo>
                    <a:pt x="27" y="400"/>
                  </a:lnTo>
                  <a:lnTo>
                    <a:pt x="22" y="389"/>
                  </a:lnTo>
                  <a:lnTo>
                    <a:pt x="17" y="376"/>
                  </a:lnTo>
                  <a:lnTo>
                    <a:pt x="12" y="363"/>
                  </a:lnTo>
                  <a:lnTo>
                    <a:pt x="8" y="350"/>
                  </a:lnTo>
                  <a:lnTo>
                    <a:pt x="6" y="336"/>
                  </a:lnTo>
                  <a:lnTo>
                    <a:pt x="2" y="322"/>
                  </a:lnTo>
                  <a:lnTo>
                    <a:pt x="1" y="308"/>
                  </a:lnTo>
                  <a:lnTo>
                    <a:pt x="0" y="294"/>
                  </a:lnTo>
                  <a:lnTo>
                    <a:pt x="0" y="280"/>
                  </a:lnTo>
                  <a:lnTo>
                    <a:pt x="0" y="265"/>
                  </a:lnTo>
                  <a:lnTo>
                    <a:pt x="1" y="251"/>
                  </a:lnTo>
                  <a:lnTo>
                    <a:pt x="2" y="237"/>
                  </a:lnTo>
                  <a:lnTo>
                    <a:pt x="6" y="223"/>
                  </a:lnTo>
                  <a:lnTo>
                    <a:pt x="8" y="209"/>
                  </a:lnTo>
                  <a:lnTo>
                    <a:pt x="12" y="197"/>
                  </a:lnTo>
                  <a:lnTo>
                    <a:pt x="17" y="183"/>
                  </a:lnTo>
                  <a:lnTo>
                    <a:pt x="22" y="171"/>
                  </a:lnTo>
                  <a:lnTo>
                    <a:pt x="27" y="159"/>
                  </a:lnTo>
                  <a:lnTo>
                    <a:pt x="34" y="146"/>
                  </a:lnTo>
                  <a:lnTo>
                    <a:pt x="40" y="135"/>
                  </a:lnTo>
                  <a:lnTo>
                    <a:pt x="47" y="124"/>
                  </a:lnTo>
                  <a:lnTo>
                    <a:pt x="55" y="112"/>
                  </a:lnTo>
                  <a:lnTo>
                    <a:pt x="63" y="102"/>
                  </a:lnTo>
                  <a:lnTo>
                    <a:pt x="72" y="92"/>
                  </a:lnTo>
                  <a:lnTo>
                    <a:pt x="81" y="82"/>
                  </a:lnTo>
                  <a:lnTo>
                    <a:pt x="92" y="73"/>
                  </a:lnTo>
                  <a:lnTo>
                    <a:pt x="102" y="64"/>
                  </a:lnTo>
                  <a:lnTo>
                    <a:pt x="112" y="56"/>
                  </a:lnTo>
                  <a:lnTo>
                    <a:pt x="123" y="48"/>
                  </a:lnTo>
                  <a:lnTo>
                    <a:pt x="134" y="41"/>
                  </a:lnTo>
                  <a:lnTo>
                    <a:pt x="146" y="34"/>
                  </a:lnTo>
                  <a:lnTo>
                    <a:pt x="158" y="28"/>
                  </a:lnTo>
                  <a:lnTo>
                    <a:pt x="171" y="22"/>
                  </a:lnTo>
                  <a:lnTo>
                    <a:pt x="183" y="17"/>
                  </a:lnTo>
                  <a:lnTo>
                    <a:pt x="197" y="13"/>
                  </a:lnTo>
                  <a:lnTo>
                    <a:pt x="209" y="10"/>
                  </a:lnTo>
                  <a:lnTo>
                    <a:pt x="223" y="6"/>
                  </a:lnTo>
                  <a:lnTo>
                    <a:pt x="236" y="4"/>
                  </a:lnTo>
                  <a:lnTo>
                    <a:pt x="251" y="2"/>
                  </a:lnTo>
                  <a:lnTo>
                    <a:pt x="264" y="0"/>
                  </a:lnTo>
                  <a:lnTo>
                    <a:pt x="279"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1218987"/>
              <a:endParaRPr lang="en-US" sz="2400">
                <a:solidFill>
                  <a:prstClr val="black"/>
                </a:solidFill>
                <a:latin typeface="Calibri"/>
              </a:endParaRPr>
            </a:p>
          </p:txBody>
        </p:sp>
        <p:sp>
          <p:nvSpPr>
            <p:cNvPr id="87" name="Freeform 26"/>
            <p:cNvSpPr>
              <a:spLocks/>
            </p:cNvSpPr>
            <p:nvPr/>
          </p:nvSpPr>
          <p:spPr bwMode="auto">
            <a:xfrm>
              <a:off x="6529738" y="5962650"/>
              <a:ext cx="184150" cy="185738"/>
            </a:xfrm>
            <a:custGeom>
              <a:avLst/>
              <a:gdLst>
                <a:gd name="T0" fmla="*/ 193 w 350"/>
                <a:gd name="T1" fmla="*/ 2 h 351"/>
                <a:gd name="T2" fmla="*/ 227 w 350"/>
                <a:gd name="T3" fmla="*/ 8 h 351"/>
                <a:gd name="T4" fmla="*/ 259 w 350"/>
                <a:gd name="T5" fmla="*/ 22 h 351"/>
                <a:gd name="T6" fmla="*/ 287 w 350"/>
                <a:gd name="T7" fmla="*/ 40 h 351"/>
                <a:gd name="T8" fmla="*/ 311 w 350"/>
                <a:gd name="T9" fmla="*/ 65 h 351"/>
                <a:gd name="T10" fmla="*/ 330 w 350"/>
                <a:gd name="T11" fmla="*/ 92 h 351"/>
                <a:gd name="T12" fmla="*/ 342 w 350"/>
                <a:gd name="T13" fmla="*/ 124 h 351"/>
                <a:gd name="T14" fmla="*/ 349 w 350"/>
                <a:gd name="T15" fmla="*/ 157 h 351"/>
                <a:gd name="T16" fmla="*/ 349 w 350"/>
                <a:gd name="T17" fmla="*/ 194 h 351"/>
                <a:gd name="T18" fmla="*/ 342 w 350"/>
                <a:gd name="T19" fmla="*/ 227 h 351"/>
                <a:gd name="T20" fmla="*/ 330 w 350"/>
                <a:gd name="T21" fmla="*/ 259 h 351"/>
                <a:gd name="T22" fmla="*/ 311 w 350"/>
                <a:gd name="T23" fmla="*/ 287 h 351"/>
                <a:gd name="T24" fmla="*/ 287 w 350"/>
                <a:gd name="T25" fmla="*/ 311 h 351"/>
                <a:gd name="T26" fmla="*/ 259 w 350"/>
                <a:gd name="T27" fmla="*/ 330 h 351"/>
                <a:gd name="T28" fmla="*/ 227 w 350"/>
                <a:gd name="T29" fmla="*/ 343 h 351"/>
                <a:gd name="T30" fmla="*/ 193 w 350"/>
                <a:gd name="T31" fmla="*/ 351 h 351"/>
                <a:gd name="T32" fmla="*/ 157 w 350"/>
                <a:gd name="T33" fmla="*/ 351 h 351"/>
                <a:gd name="T34" fmla="*/ 123 w 350"/>
                <a:gd name="T35" fmla="*/ 343 h 351"/>
                <a:gd name="T36" fmla="*/ 92 w 350"/>
                <a:gd name="T37" fmla="*/ 330 h 351"/>
                <a:gd name="T38" fmla="*/ 63 w 350"/>
                <a:gd name="T39" fmla="*/ 311 h 351"/>
                <a:gd name="T40" fmla="*/ 40 w 350"/>
                <a:gd name="T41" fmla="*/ 287 h 351"/>
                <a:gd name="T42" fmla="*/ 21 w 350"/>
                <a:gd name="T43" fmla="*/ 259 h 351"/>
                <a:gd name="T44" fmla="*/ 8 w 350"/>
                <a:gd name="T45" fmla="*/ 227 h 351"/>
                <a:gd name="T46" fmla="*/ 1 w 350"/>
                <a:gd name="T47" fmla="*/ 194 h 351"/>
                <a:gd name="T48" fmla="*/ 1 w 350"/>
                <a:gd name="T49" fmla="*/ 157 h 351"/>
                <a:gd name="T50" fmla="*/ 8 w 350"/>
                <a:gd name="T51" fmla="*/ 124 h 351"/>
                <a:gd name="T52" fmla="*/ 21 w 350"/>
                <a:gd name="T53" fmla="*/ 92 h 351"/>
                <a:gd name="T54" fmla="*/ 40 w 350"/>
                <a:gd name="T55" fmla="*/ 65 h 351"/>
                <a:gd name="T56" fmla="*/ 63 w 350"/>
                <a:gd name="T57" fmla="*/ 40 h 351"/>
                <a:gd name="T58" fmla="*/ 92 w 350"/>
                <a:gd name="T59" fmla="*/ 22 h 351"/>
                <a:gd name="T60" fmla="*/ 123 w 350"/>
                <a:gd name="T61" fmla="*/ 8 h 351"/>
                <a:gd name="T62" fmla="*/ 157 w 350"/>
                <a:gd name="T63" fmla="*/ 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0" h="351">
                  <a:moveTo>
                    <a:pt x="175" y="0"/>
                  </a:moveTo>
                  <a:lnTo>
                    <a:pt x="193" y="2"/>
                  </a:lnTo>
                  <a:lnTo>
                    <a:pt x="210" y="4"/>
                  </a:lnTo>
                  <a:lnTo>
                    <a:pt x="227" y="8"/>
                  </a:lnTo>
                  <a:lnTo>
                    <a:pt x="243" y="14"/>
                  </a:lnTo>
                  <a:lnTo>
                    <a:pt x="259" y="22"/>
                  </a:lnTo>
                  <a:lnTo>
                    <a:pt x="273" y="31"/>
                  </a:lnTo>
                  <a:lnTo>
                    <a:pt x="287" y="40"/>
                  </a:lnTo>
                  <a:lnTo>
                    <a:pt x="299" y="51"/>
                  </a:lnTo>
                  <a:lnTo>
                    <a:pt x="311" y="65"/>
                  </a:lnTo>
                  <a:lnTo>
                    <a:pt x="321" y="77"/>
                  </a:lnTo>
                  <a:lnTo>
                    <a:pt x="330" y="92"/>
                  </a:lnTo>
                  <a:lnTo>
                    <a:pt x="337" y="108"/>
                  </a:lnTo>
                  <a:lnTo>
                    <a:pt x="342" y="124"/>
                  </a:lnTo>
                  <a:lnTo>
                    <a:pt x="347" y="140"/>
                  </a:lnTo>
                  <a:lnTo>
                    <a:pt x="349" y="157"/>
                  </a:lnTo>
                  <a:lnTo>
                    <a:pt x="350" y="176"/>
                  </a:lnTo>
                  <a:lnTo>
                    <a:pt x="349" y="194"/>
                  </a:lnTo>
                  <a:lnTo>
                    <a:pt x="347" y="211"/>
                  </a:lnTo>
                  <a:lnTo>
                    <a:pt x="342" y="227"/>
                  </a:lnTo>
                  <a:lnTo>
                    <a:pt x="337" y="244"/>
                  </a:lnTo>
                  <a:lnTo>
                    <a:pt x="330" y="259"/>
                  </a:lnTo>
                  <a:lnTo>
                    <a:pt x="321" y="274"/>
                  </a:lnTo>
                  <a:lnTo>
                    <a:pt x="311" y="287"/>
                  </a:lnTo>
                  <a:lnTo>
                    <a:pt x="299" y="300"/>
                  </a:lnTo>
                  <a:lnTo>
                    <a:pt x="287" y="311"/>
                  </a:lnTo>
                  <a:lnTo>
                    <a:pt x="273" y="321"/>
                  </a:lnTo>
                  <a:lnTo>
                    <a:pt x="259" y="330"/>
                  </a:lnTo>
                  <a:lnTo>
                    <a:pt x="243" y="337"/>
                  </a:lnTo>
                  <a:lnTo>
                    <a:pt x="227" y="343"/>
                  </a:lnTo>
                  <a:lnTo>
                    <a:pt x="210" y="347"/>
                  </a:lnTo>
                  <a:lnTo>
                    <a:pt x="193" y="351"/>
                  </a:lnTo>
                  <a:lnTo>
                    <a:pt x="175" y="351"/>
                  </a:lnTo>
                  <a:lnTo>
                    <a:pt x="157" y="351"/>
                  </a:lnTo>
                  <a:lnTo>
                    <a:pt x="140" y="347"/>
                  </a:lnTo>
                  <a:lnTo>
                    <a:pt x="123" y="343"/>
                  </a:lnTo>
                  <a:lnTo>
                    <a:pt x="107" y="337"/>
                  </a:lnTo>
                  <a:lnTo>
                    <a:pt x="92" y="330"/>
                  </a:lnTo>
                  <a:lnTo>
                    <a:pt x="77" y="321"/>
                  </a:lnTo>
                  <a:lnTo>
                    <a:pt x="63" y="311"/>
                  </a:lnTo>
                  <a:lnTo>
                    <a:pt x="51" y="300"/>
                  </a:lnTo>
                  <a:lnTo>
                    <a:pt x="40" y="287"/>
                  </a:lnTo>
                  <a:lnTo>
                    <a:pt x="29" y="274"/>
                  </a:lnTo>
                  <a:lnTo>
                    <a:pt x="21" y="259"/>
                  </a:lnTo>
                  <a:lnTo>
                    <a:pt x="14" y="244"/>
                  </a:lnTo>
                  <a:lnTo>
                    <a:pt x="8" y="227"/>
                  </a:lnTo>
                  <a:lnTo>
                    <a:pt x="3" y="211"/>
                  </a:lnTo>
                  <a:lnTo>
                    <a:pt x="1" y="194"/>
                  </a:lnTo>
                  <a:lnTo>
                    <a:pt x="0" y="176"/>
                  </a:lnTo>
                  <a:lnTo>
                    <a:pt x="1" y="157"/>
                  </a:lnTo>
                  <a:lnTo>
                    <a:pt x="3" y="140"/>
                  </a:lnTo>
                  <a:lnTo>
                    <a:pt x="8" y="124"/>
                  </a:lnTo>
                  <a:lnTo>
                    <a:pt x="14" y="108"/>
                  </a:lnTo>
                  <a:lnTo>
                    <a:pt x="21" y="92"/>
                  </a:lnTo>
                  <a:lnTo>
                    <a:pt x="29" y="77"/>
                  </a:lnTo>
                  <a:lnTo>
                    <a:pt x="40" y="65"/>
                  </a:lnTo>
                  <a:lnTo>
                    <a:pt x="51" y="51"/>
                  </a:lnTo>
                  <a:lnTo>
                    <a:pt x="63" y="40"/>
                  </a:lnTo>
                  <a:lnTo>
                    <a:pt x="77" y="31"/>
                  </a:lnTo>
                  <a:lnTo>
                    <a:pt x="92" y="22"/>
                  </a:lnTo>
                  <a:lnTo>
                    <a:pt x="107" y="14"/>
                  </a:lnTo>
                  <a:lnTo>
                    <a:pt x="123" y="8"/>
                  </a:lnTo>
                  <a:lnTo>
                    <a:pt x="140" y="4"/>
                  </a:lnTo>
                  <a:lnTo>
                    <a:pt x="157" y="2"/>
                  </a:lnTo>
                  <a:lnTo>
                    <a:pt x="175" y="0"/>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prstClr val="black"/>
                </a:solidFill>
                <a:latin typeface="Calibri"/>
              </a:endParaRPr>
            </a:p>
          </p:txBody>
        </p:sp>
      </p:grpSp>
      <p:grpSp>
        <p:nvGrpSpPr>
          <p:cNvPr id="88" name="Group 87"/>
          <p:cNvGrpSpPr/>
          <p:nvPr/>
        </p:nvGrpSpPr>
        <p:grpSpPr>
          <a:xfrm>
            <a:off x="1652872" y="2094409"/>
            <a:ext cx="355765" cy="339067"/>
            <a:chOff x="6475413" y="5907088"/>
            <a:chExt cx="295275" cy="296863"/>
          </a:xfrm>
        </p:grpSpPr>
        <p:sp>
          <p:nvSpPr>
            <p:cNvPr id="89" name="Freeform 25"/>
            <p:cNvSpPr>
              <a:spLocks/>
            </p:cNvSpPr>
            <p:nvPr/>
          </p:nvSpPr>
          <p:spPr bwMode="auto">
            <a:xfrm>
              <a:off x="6475413" y="5907088"/>
              <a:ext cx="295275" cy="296863"/>
            </a:xfrm>
            <a:custGeom>
              <a:avLst/>
              <a:gdLst>
                <a:gd name="T0" fmla="*/ 307 w 559"/>
                <a:gd name="T1" fmla="*/ 2 h 560"/>
                <a:gd name="T2" fmla="*/ 349 w 559"/>
                <a:gd name="T3" fmla="*/ 10 h 560"/>
                <a:gd name="T4" fmla="*/ 388 w 559"/>
                <a:gd name="T5" fmla="*/ 22 h 560"/>
                <a:gd name="T6" fmla="*/ 424 w 559"/>
                <a:gd name="T7" fmla="*/ 41 h 560"/>
                <a:gd name="T8" fmla="*/ 457 w 559"/>
                <a:gd name="T9" fmla="*/ 64 h 560"/>
                <a:gd name="T10" fmla="*/ 486 w 559"/>
                <a:gd name="T11" fmla="*/ 92 h 560"/>
                <a:gd name="T12" fmla="*/ 511 w 559"/>
                <a:gd name="T13" fmla="*/ 124 h 560"/>
                <a:gd name="T14" fmla="*/ 531 w 559"/>
                <a:gd name="T15" fmla="*/ 159 h 560"/>
                <a:gd name="T16" fmla="*/ 546 w 559"/>
                <a:gd name="T17" fmla="*/ 197 h 560"/>
                <a:gd name="T18" fmla="*/ 556 w 559"/>
                <a:gd name="T19" fmla="*/ 237 h 560"/>
                <a:gd name="T20" fmla="*/ 559 w 559"/>
                <a:gd name="T21" fmla="*/ 280 h 560"/>
                <a:gd name="T22" fmla="*/ 556 w 559"/>
                <a:gd name="T23" fmla="*/ 322 h 560"/>
                <a:gd name="T24" fmla="*/ 546 w 559"/>
                <a:gd name="T25" fmla="*/ 363 h 560"/>
                <a:gd name="T26" fmla="*/ 531 w 559"/>
                <a:gd name="T27" fmla="*/ 400 h 560"/>
                <a:gd name="T28" fmla="*/ 511 w 559"/>
                <a:gd name="T29" fmla="*/ 437 h 560"/>
                <a:gd name="T30" fmla="*/ 486 w 559"/>
                <a:gd name="T31" fmla="*/ 468 h 560"/>
                <a:gd name="T32" fmla="*/ 457 w 559"/>
                <a:gd name="T33" fmla="*/ 495 h 560"/>
                <a:gd name="T34" fmla="*/ 424 w 559"/>
                <a:gd name="T35" fmla="*/ 519 h 560"/>
                <a:gd name="T36" fmla="*/ 388 w 559"/>
                <a:gd name="T37" fmla="*/ 537 h 560"/>
                <a:gd name="T38" fmla="*/ 349 w 559"/>
                <a:gd name="T39" fmla="*/ 551 h 560"/>
                <a:gd name="T40" fmla="*/ 307 w 559"/>
                <a:gd name="T41" fmla="*/ 557 h 560"/>
                <a:gd name="T42" fmla="*/ 264 w 559"/>
                <a:gd name="T43" fmla="*/ 559 h 560"/>
                <a:gd name="T44" fmla="*/ 223 w 559"/>
                <a:gd name="T45" fmla="*/ 554 h 560"/>
                <a:gd name="T46" fmla="*/ 183 w 559"/>
                <a:gd name="T47" fmla="*/ 543 h 560"/>
                <a:gd name="T48" fmla="*/ 146 w 559"/>
                <a:gd name="T49" fmla="*/ 526 h 560"/>
                <a:gd name="T50" fmla="*/ 112 w 559"/>
                <a:gd name="T51" fmla="*/ 503 h 560"/>
                <a:gd name="T52" fmla="*/ 81 w 559"/>
                <a:gd name="T53" fmla="*/ 477 h 560"/>
                <a:gd name="T54" fmla="*/ 55 w 559"/>
                <a:gd name="T55" fmla="*/ 447 h 560"/>
                <a:gd name="T56" fmla="*/ 34 w 559"/>
                <a:gd name="T57" fmla="*/ 413 h 560"/>
                <a:gd name="T58" fmla="*/ 17 w 559"/>
                <a:gd name="T59" fmla="*/ 376 h 560"/>
                <a:gd name="T60" fmla="*/ 6 w 559"/>
                <a:gd name="T61" fmla="*/ 336 h 560"/>
                <a:gd name="T62" fmla="*/ 0 w 559"/>
                <a:gd name="T63" fmla="*/ 294 h 560"/>
                <a:gd name="T64" fmla="*/ 1 w 559"/>
                <a:gd name="T65" fmla="*/ 251 h 560"/>
                <a:gd name="T66" fmla="*/ 8 w 559"/>
                <a:gd name="T67" fmla="*/ 209 h 560"/>
                <a:gd name="T68" fmla="*/ 22 w 559"/>
                <a:gd name="T69" fmla="*/ 171 h 560"/>
                <a:gd name="T70" fmla="*/ 40 w 559"/>
                <a:gd name="T71" fmla="*/ 135 h 560"/>
                <a:gd name="T72" fmla="*/ 63 w 559"/>
                <a:gd name="T73" fmla="*/ 102 h 560"/>
                <a:gd name="T74" fmla="*/ 92 w 559"/>
                <a:gd name="T75" fmla="*/ 73 h 560"/>
                <a:gd name="T76" fmla="*/ 123 w 559"/>
                <a:gd name="T77" fmla="*/ 48 h 560"/>
                <a:gd name="T78" fmla="*/ 158 w 559"/>
                <a:gd name="T79" fmla="*/ 28 h 560"/>
                <a:gd name="T80" fmla="*/ 197 w 559"/>
                <a:gd name="T81" fmla="*/ 13 h 560"/>
                <a:gd name="T82" fmla="*/ 236 w 559"/>
                <a:gd name="T83" fmla="*/ 4 h 560"/>
                <a:gd name="T84" fmla="*/ 279 w 559"/>
                <a:gd name="T85" fmla="*/ 0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59" h="560">
                  <a:moveTo>
                    <a:pt x="279" y="0"/>
                  </a:moveTo>
                  <a:lnTo>
                    <a:pt x="294" y="0"/>
                  </a:lnTo>
                  <a:lnTo>
                    <a:pt x="307" y="2"/>
                  </a:lnTo>
                  <a:lnTo>
                    <a:pt x="322" y="4"/>
                  </a:lnTo>
                  <a:lnTo>
                    <a:pt x="336" y="6"/>
                  </a:lnTo>
                  <a:lnTo>
                    <a:pt x="349" y="10"/>
                  </a:lnTo>
                  <a:lnTo>
                    <a:pt x="363" y="13"/>
                  </a:lnTo>
                  <a:lnTo>
                    <a:pt x="375" y="17"/>
                  </a:lnTo>
                  <a:lnTo>
                    <a:pt x="388" y="22"/>
                  </a:lnTo>
                  <a:lnTo>
                    <a:pt x="400" y="28"/>
                  </a:lnTo>
                  <a:lnTo>
                    <a:pt x="412" y="34"/>
                  </a:lnTo>
                  <a:lnTo>
                    <a:pt x="424" y="41"/>
                  </a:lnTo>
                  <a:lnTo>
                    <a:pt x="435" y="48"/>
                  </a:lnTo>
                  <a:lnTo>
                    <a:pt x="446" y="56"/>
                  </a:lnTo>
                  <a:lnTo>
                    <a:pt x="457" y="64"/>
                  </a:lnTo>
                  <a:lnTo>
                    <a:pt x="467" y="73"/>
                  </a:lnTo>
                  <a:lnTo>
                    <a:pt x="477" y="82"/>
                  </a:lnTo>
                  <a:lnTo>
                    <a:pt x="486" y="92"/>
                  </a:lnTo>
                  <a:lnTo>
                    <a:pt x="495" y="102"/>
                  </a:lnTo>
                  <a:lnTo>
                    <a:pt x="503" y="112"/>
                  </a:lnTo>
                  <a:lnTo>
                    <a:pt x="511" y="124"/>
                  </a:lnTo>
                  <a:lnTo>
                    <a:pt x="519" y="135"/>
                  </a:lnTo>
                  <a:lnTo>
                    <a:pt x="525" y="146"/>
                  </a:lnTo>
                  <a:lnTo>
                    <a:pt x="531" y="159"/>
                  </a:lnTo>
                  <a:lnTo>
                    <a:pt x="537" y="171"/>
                  </a:lnTo>
                  <a:lnTo>
                    <a:pt x="542" y="183"/>
                  </a:lnTo>
                  <a:lnTo>
                    <a:pt x="546" y="197"/>
                  </a:lnTo>
                  <a:lnTo>
                    <a:pt x="550" y="209"/>
                  </a:lnTo>
                  <a:lnTo>
                    <a:pt x="554" y="223"/>
                  </a:lnTo>
                  <a:lnTo>
                    <a:pt x="556" y="237"/>
                  </a:lnTo>
                  <a:lnTo>
                    <a:pt x="557" y="251"/>
                  </a:lnTo>
                  <a:lnTo>
                    <a:pt x="558" y="265"/>
                  </a:lnTo>
                  <a:lnTo>
                    <a:pt x="559" y="280"/>
                  </a:lnTo>
                  <a:lnTo>
                    <a:pt x="558" y="294"/>
                  </a:lnTo>
                  <a:lnTo>
                    <a:pt x="557" y="308"/>
                  </a:lnTo>
                  <a:lnTo>
                    <a:pt x="556" y="322"/>
                  </a:lnTo>
                  <a:lnTo>
                    <a:pt x="554" y="336"/>
                  </a:lnTo>
                  <a:lnTo>
                    <a:pt x="550" y="350"/>
                  </a:lnTo>
                  <a:lnTo>
                    <a:pt x="546" y="363"/>
                  </a:lnTo>
                  <a:lnTo>
                    <a:pt x="542" y="376"/>
                  </a:lnTo>
                  <a:lnTo>
                    <a:pt x="537" y="389"/>
                  </a:lnTo>
                  <a:lnTo>
                    <a:pt x="531" y="400"/>
                  </a:lnTo>
                  <a:lnTo>
                    <a:pt x="525" y="413"/>
                  </a:lnTo>
                  <a:lnTo>
                    <a:pt x="519" y="425"/>
                  </a:lnTo>
                  <a:lnTo>
                    <a:pt x="511" y="437"/>
                  </a:lnTo>
                  <a:lnTo>
                    <a:pt x="503" y="447"/>
                  </a:lnTo>
                  <a:lnTo>
                    <a:pt x="495" y="458"/>
                  </a:lnTo>
                  <a:lnTo>
                    <a:pt x="486" y="468"/>
                  </a:lnTo>
                  <a:lnTo>
                    <a:pt x="477" y="477"/>
                  </a:lnTo>
                  <a:lnTo>
                    <a:pt x="467" y="486"/>
                  </a:lnTo>
                  <a:lnTo>
                    <a:pt x="457" y="495"/>
                  </a:lnTo>
                  <a:lnTo>
                    <a:pt x="446" y="503"/>
                  </a:lnTo>
                  <a:lnTo>
                    <a:pt x="435" y="511"/>
                  </a:lnTo>
                  <a:lnTo>
                    <a:pt x="424" y="519"/>
                  </a:lnTo>
                  <a:lnTo>
                    <a:pt x="412" y="526"/>
                  </a:lnTo>
                  <a:lnTo>
                    <a:pt x="400" y="531"/>
                  </a:lnTo>
                  <a:lnTo>
                    <a:pt x="388" y="537"/>
                  </a:lnTo>
                  <a:lnTo>
                    <a:pt x="375" y="543"/>
                  </a:lnTo>
                  <a:lnTo>
                    <a:pt x="363" y="547"/>
                  </a:lnTo>
                  <a:lnTo>
                    <a:pt x="349" y="551"/>
                  </a:lnTo>
                  <a:lnTo>
                    <a:pt x="336" y="554"/>
                  </a:lnTo>
                  <a:lnTo>
                    <a:pt x="322" y="556"/>
                  </a:lnTo>
                  <a:lnTo>
                    <a:pt x="307" y="557"/>
                  </a:lnTo>
                  <a:lnTo>
                    <a:pt x="294" y="559"/>
                  </a:lnTo>
                  <a:lnTo>
                    <a:pt x="279" y="560"/>
                  </a:lnTo>
                  <a:lnTo>
                    <a:pt x="264" y="559"/>
                  </a:lnTo>
                  <a:lnTo>
                    <a:pt x="251" y="557"/>
                  </a:lnTo>
                  <a:lnTo>
                    <a:pt x="236" y="556"/>
                  </a:lnTo>
                  <a:lnTo>
                    <a:pt x="223" y="554"/>
                  </a:lnTo>
                  <a:lnTo>
                    <a:pt x="209" y="551"/>
                  </a:lnTo>
                  <a:lnTo>
                    <a:pt x="197" y="547"/>
                  </a:lnTo>
                  <a:lnTo>
                    <a:pt x="183" y="543"/>
                  </a:lnTo>
                  <a:lnTo>
                    <a:pt x="171" y="537"/>
                  </a:lnTo>
                  <a:lnTo>
                    <a:pt x="158" y="531"/>
                  </a:lnTo>
                  <a:lnTo>
                    <a:pt x="146" y="526"/>
                  </a:lnTo>
                  <a:lnTo>
                    <a:pt x="134" y="519"/>
                  </a:lnTo>
                  <a:lnTo>
                    <a:pt x="123" y="511"/>
                  </a:lnTo>
                  <a:lnTo>
                    <a:pt x="112" y="503"/>
                  </a:lnTo>
                  <a:lnTo>
                    <a:pt x="102" y="495"/>
                  </a:lnTo>
                  <a:lnTo>
                    <a:pt x="92" y="486"/>
                  </a:lnTo>
                  <a:lnTo>
                    <a:pt x="81" y="477"/>
                  </a:lnTo>
                  <a:lnTo>
                    <a:pt x="72" y="468"/>
                  </a:lnTo>
                  <a:lnTo>
                    <a:pt x="63" y="458"/>
                  </a:lnTo>
                  <a:lnTo>
                    <a:pt x="55" y="447"/>
                  </a:lnTo>
                  <a:lnTo>
                    <a:pt x="47" y="437"/>
                  </a:lnTo>
                  <a:lnTo>
                    <a:pt x="40" y="425"/>
                  </a:lnTo>
                  <a:lnTo>
                    <a:pt x="34" y="413"/>
                  </a:lnTo>
                  <a:lnTo>
                    <a:pt x="27" y="400"/>
                  </a:lnTo>
                  <a:lnTo>
                    <a:pt x="22" y="389"/>
                  </a:lnTo>
                  <a:lnTo>
                    <a:pt x="17" y="376"/>
                  </a:lnTo>
                  <a:lnTo>
                    <a:pt x="12" y="363"/>
                  </a:lnTo>
                  <a:lnTo>
                    <a:pt x="8" y="350"/>
                  </a:lnTo>
                  <a:lnTo>
                    <a:pt x="6" y="336"/>
                  </a:lnTo>
                  <a:lnTo>
                    <a:pt x="2" y="322"/>
                  </a:lnTo>
                  <a:lnTo>
                    <a:pt x="1" y="308"/>
                  </a:lnTo>
                  <a:lnTo>
                    <a:pt x="0" y="294"/>
                  </a:lnTo>
                  <a:lnTo>
                    <a:pt x="0" y="280"/>
                  </a:lnTo>
                  <a:lnTo>
                    <a:pt x="0" y="265"/>
                  </a:lnTo>
                  <a:lnTo>
                    <a:pt x="1" y="251"/>
                  </a:lnTo>
                  <a:lnTo>
                    <a:pt x="2" y="237"/>
                  </a:lnTo>
                  <a:lnTo>
                    <a:pt x="6" y="223"/>
                  </a:lnTo>
                  <a:lnTo>
                    <a:pt x="8" y="209"/>
                  </a:lnTo>
                  <a:lnTo>
                    <a:pt x="12" y="197"/>
                  </a:lnTo>
                  <a:lnTo>
                    <a:pt x="17" y="183"/>
                  </a:lnTo>
                  <a:lnTo>
                    <a:pt x="22" y="171"/>
                  </a:lnTo>
                  <a:lnTo>
                    <a:pt x="27" y="159"/>
                  </a:lnTo>
                  <a:lnTo>
                    <a:pt x="34" y="146"/>
                  </a:lnTo>
                  <a:lnTo>
                    <a:pt x="40" y="135"/>
                  </a:lnTo>
                  <a:lnTo>
                    <a:pt x="47" y="124"/>
                  </a:lnTo>
                  <a:lnTo>
                    <a:pt x="55" y="112"/>
                  </a:lnTo>
                  <a:lnTo>
                    <a:pt x="63" y="102"/>
                  </a:lnTo>
                  <a:lnTo>
                    <a:pt x="72" y="92"/>
                  </a:lnTo>
                  <a:lnTo>
                    <a:pt x="81" y="82"/>
                  </a:lnTo>
                  <a:lnTo>
                    <a:pt x="92" y="73"/>
                  </a:lnTo>
                  <a:lnTo>
                    <a:pt x="102" y="64"/>
                  </a:lnTo>
                  <a:lnTo>
                    <a:pt x="112" y="56"/>
                  </a:lnTo>
                  <a:lnTo>
                    <a:pt x="123" y="48"/>
                  </a:lnTo>
                  <a:lnTo>
                    <a:pt x="134" y="41"/>
                  </a:lnTo>
                  <a:lnTo>
                    <a:pt x="146" y="34"/>
                  </a:lnTo>
                  <a:lnTo>
                    <a:pt x="158" y="28"/>
                  </a:lnTo>
                  <a:lnTo>
                    <a:pt x="171" y="22"/>
                  </a:lnTo>
                  <a:lnTo>
                    <a:pt x="183" y="17"/>
                  </a:lnTo>
                  <a:lnTo>
                    <a:pt x="197" y="13"/>
                  </a:lnTo>
                  <a:lnTo>
                    <a:pt x="209" y="10"/>
                  </a:lnTo>
                  <a:lnTo>
                    <a:pt x="223" y="6"/>
                  </a:lnTo>
                  <a:lnTo>
                    <a:pt x="236" y="4"/>
                  </a:lnTo>
                  <a:lnTo>
                    <a:pt x="251" y="2"/>
                  </a:lnTo>
                  <a:lnTo>
                    <a:pt x="264" y="0"/>
                  </a:lnTo>
                  <a:lnTo>
                    <a:pt x="279"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1218987"/>
              <a:endParaRPr lang="en-US" sz="2400">
                <a:solidFill>
                  <a:prstClr val="black"/>
                </a:solidFill>
                <a:latin typeface="Calibri"/>
              </a:endParaRPr>
            </a:p>
          </p:txBody>
        </p:sp>
        <p:sp>
          <p:nvSpPr>
            <p:cNvPr id="90" name="Freeform 26"/>
            <p:cNvSpPr>
              <a:spLocks/>
            </p:cNvSpPr>
            <p:nvPr/>
          </p:nvSpPr>
          <p:spPr bwMode="auto">
            <a:xfrm>
              <a:off x="6529738" y="5962650"/>
              <a:ext cx="184150" cy="185738"/>
            </a:xfrm>
            <a:custGeom>
              <a:avLst/>
              <a:gdLst>
                <a:gd name="T0" fmla="*/ 193 w 350"/>
                <a:gd name="T1" fmla="*/ 2 h 351"/>
                <a:gd name="T2" fmla="*/ 227 w 350"/>
                <a:gd name="T3" fmla="*/ 8 h 351"/>
                <a:gd name="T4" fmla="*/ 259 w 350"/>
                <a:gd name="T5" fmla="*/ 22 h 351"/>
                <a:gd name="T6" fmla="*/ 287 w 350"/>
                <a:gd name="T7" fmla="*/ 40 h 351"/>
                <a:gd name="T8" fmla="*/ 311 w 350"/>
                <a:gd name="T9" fmla="*/ 65 h 351"/>
                <a:gd name="T10" fmla="*/ 330 w 350"/>
                <a:gd name="T11" fmla="*/ 92 h 351"/>
                <a:gd name="T12" fmla="*/ 342 w 350"/>
                <a:gd name="T13" fmla="*/ 124 h 351"/>
                <a:gd name="T14" fmla="*/ 349 w 350"/>
                <a:gd name="T15" fmla="*/ 157 h 351"/>
                <a:gd name="T16" fmla="*/ 349 w 350"/>
                <a:gd name="T17" fmla="*/ 194 h 351"/>
                <a:gd name="T18" fmla="*/ 342 w 350"/>
                <a:gd name="T19" fmla="*/ 227 h 351"/>
                <a:gd name="T20" fmla="*/ 330 w 350"/>
                <a:gd name="T21" fmla="*/ 259 h 351"/>
                <a:gd name="T22" fmla="*/ 311 w 350"/>
                <a:gd name="T23" fmla="*/ 287 h 351"/>
                <a:gd name="T24" fmla="*/ 287 w 350"/>
                <a:gd name="T25" fmla="*/ 311 h 351"/>
                <a:gd name="T26" fmla="*/ 259 w 350"/>
                <a:gd name="T27" fmla="*/ 330 h 351"/>
                <a:gd name="T28" fmla="*/ 227 w 350"/>
                <a:gd name="T29" fmla="*/ 343 h 351"/>
                <a:gd name="T30" fmla="*/ 193 w 350"/>
                <a:gd name="T31" fmla="*/ 351 h 351"/>
                <a:gd name="T32" fmla="*/ 157 w 350"/>
                <a:gd name="T33" fmla="*/ 351 h 351"/>
                <a:gd name="T34" fmla="*/ 123 w 350"/>
                <a:gd name="T35" fmla="*/ 343 h 351"/>
                <a:gd name="T36" fmla="*/ 92 w 350"/>
                <a:gd name="T37" fmla="*/ 330 h 351"/>
                <a:gd name="T38" fmla="*/ 63 w 350"/>
                <a:gd name="T39" fmla="*/ 311 h 351"/>
                <a:gd name="T40" fmla="*/ 40 w 350"/>
                <a:gd name="T41" fmla="*/ 287 h 351"/>
                <a:gd name="T42" fmla="*/ 21 w 350"/>
                <a:gd name="T43" fmla="*/ 259 h 351"/>
                <a:gd name="T44" fmla="*/ 8 w 350"/>
                <a:gd name="T45" fmla="*/ 227 h 351"/>
                <a:gd name="T46" fmla="*/ 1 w 350"/>
                <a:gd name="T47" fmla="*/ 194 h 351"/>
                <a:gd name="T48" fmla="*/ 1 w 350"/>
                <a:gd name="T49" fmla="*/ 157 h 351"/>
                <a:gd name="T50" fmla="*/ 8 w 350"/>
                <a:gd name="T51" fmla="*/ 124 h 351"/>
                <a:gd name="T52" fmla="*/ 21 w 350"/>
                <a:gd name="T53" fmla="*/ 92 h 351"/>
                <a:gd name="T54" fmla="*/ 40 w 350"/>
                <a:gd name="T55" fmla="*/ 65 h 351"/>
                <a:gd name="T56" fmla="*/ 63 w 350"/>
                <a:gd name="T57" fmla="*/ 40 h 351"/>
                <a:gd name="T58" fmla="*/ 92 w 350"/>
                <a:gd name="T59" fmla="*/ 22 h 351"/>
                <a:gd name="T60" fmla="*/ 123 w 350"/>
                <a:gd name="T61" fmla="*/ 8 h 351"/>
                <a:gd name="T62" fmla="*/ 157 w 350"/>
                <a:gd name="T63" fmla="*/ 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0" h="351">
                  <a:moveTo>
                    <a:pt x="175" y="0"/>
                  </a:moveTo>
                  <a:lnTo>
                    <a:pt x="193" y="2"/>
                  </a:lnTo>
                  <a:lnTo>
                    <a:pt x="210" y="4"/>
                  </a:lnTo>
                  <a:lnTo>
                    <a:pt x="227" y="8"/>
                  </a:lnTo>
                  <a:lnTo>
                    <a:pt x="243" y="14"/>
                  </a:lnTo>
                  <a:lnTo>
                    <a:pt x="259" y="22"/>
                  </a:lnTo>
                  <a:lnTo>
                    <a:pt x="273" y="31"/>
                  </a:lnTo>
                  <a:lnTo>
                    <a:pt x="287" y="40"/>
                  </a:lnTo>
                  <a:lnTo>
                    <a:pt x="299" y="51"/>
                  </a:lnTo>
                  <a:lnTo>
                    <a:pt x="311" y="65"/>
                  </a:lnTo>
                  <a:lnTo>
                    <a:pt x="321" y="77"/>
                  </a:lnTo>
                  <a:lnTo>
                    <a:pt x="330" y="92"/>
                  </a:lnTo>
                  <a:lnTo>
                    <a:pt x="337" y="108"/>
                  </a:lnTo>
                  <a:lnTo>
                    <a:pt x="342" y="124"/>
                  </a:lnTo>
                  <a:lnTo>
                    <a:pt x="347" y="140"/>
                  </a:lnTo>
                  <a:lnTo>
                    <a:pt x="349" y="157"/>
                  </a:lnTo>
                  <a:lnTo>
                    <a:pt x="350" y="176"/>
                  </a:lnTo>
                  <a:lnTo>
                    <a:pt x="349" y="194"/>
                  </a:lnTo>
                  <a:lnTo>
                    <a:pt x="347" y="211"/>
                  </a:lnTo>
                  <a:lnTo>
                    <a:pt x="342" y="227"/>
                  </a:lnTo>
                  <a:lnTo>
                    <a:pt x="337" y="244"/>
                  </a:lnTo>
                  <a:lnTo>
                    <a:pt x="330" y="259"/>
                  </a:lnTo>
                  <a:lnTo>
                    <a:pt x="321" y="274"/>
                  </a:lnTo>
                  <a:lnTo>
                    <a:pt x="311" y="287"/>
                  </a:lnTo>
                  <a:lnTo>
                    <a:pt x="299" y="300"/>
                  </a:lnTo>
                  <a:lnTo>
                    <a:pt x="287" y="311"/>
                  </a:lnTo>
                  <a:lnTo>
                    <a:pt x="273" y="321"/>
                  </a:lnTo>
                  <a:lnTo>
                    <a:pt x="259" y="330"/>
                  </a:lnTo>
                  <a:lnTo>
                    <a:pt x="243" y="337"/>
                  </a:lnTo>
                  <a:lnTo>
                    <a:pt x="227" y="343"/>
                  </a:lnTo>
                  <a:lnTo>
                    <a:pt x="210" y="347"/>
                  </a:lnTo>
                  <a:lnTo>
                    <a:pt x="193" y="351"/>
                  </a:lnTo>
                  <a:lnTo>
                    <a:pt x="175" y="351"/>
                  </a:lnTo>
                  <a:lnTo>
                    <a:pt x="157" y="351"/>
                  </a:lnTo>
                  <a:lnTo>
                    <a:pt x="140" y="347"/>
                  </a:lnTo>
                  <a:lnTo>
                    <a:pt x="123" y="343"/>
                  </a:lnTo>
                  <a:lnTo>
                    <a:pt x="107" y="337"/>
                  </a:lnTo>
                  <a:lnTo>
                    <a:pt x="92" y="330"/>
                  </a:lnTo>
                  <a:lnTo>
                    <a:pt x="77" y="321"/>
                  </a:lnTo>
                  <a:lnTo>
                    <a:pt x="63" y="311"/>
                  </a:lnTo>
                  <a:lnTo>
                    <a:pt x="51" y="300"/>
                  </a:lnTo>
                  <a:lnTo>
                    <a:pt x="40" y="287"/>
                  </a:lnTo>
                  <a:lnTo>
                    <a:pt x="29" y="274"/>
                  </a:lnTo>
                  <a:lnTo>
                    <a:pt x="21" y="259"/>
                  </a:lnTo>
                  <a:lnTo>
                    <a:pt x="14" y="244"/>
                  </a:lnTo>
                  <a:lnTo>
                    <a:pt x="8" y="227"/>
                  </a:lnTo>
                  <a:lnTo>
                    <a:pt x="3" y="211"/>
                  </a:lnTo>
                  <a:lnTo>
                    <a:pt x="1" y="194"/>
                  </a:lnTo>
                  <a:lnTo>
                    <a:pt x="0" y="176"/>
                  </a:lnTo>
                  <a:lnTo>
                    <a:pt x="1" y="157"/>
                  </a:lnTo>
                  <a:lnTo>
                    <a:pt x="3" y="140"/>
                  </a:lnTo>
                  <a:lnTo>
                    <a:pt x="8" y="124"/>
                  </a:lnTo>
                  <a:lnTo>
                    <a:pt x="14" y="108"/>
                  </a:lnTo>
                  <a:lnTo>
                    <a:pt x="21" y="92"/>
                  </a:lnTo>
                  <a:lnTo>
                    <a:pt x="29" y="77"/>
                  </a:lnTo>
                  <a:lnTo>
                    <a:pt x="40" y="65"/>
                  </a:lnTo>
                  <a:lnTo>
                    <a:pt x="51" y="51"/>
                  </a:lnTo>
                  <a:lnTo>
                    <a:pt x="63" y="40"/>
                  </a:lnTo>
                  <a:lnTo>
                    <a:pt x="77" y="31"/>
                  </a:lnTo>
                  <a:lnTo>
                    <a:pt x="92" y="22"/>
                  </a:lnTo>
                  <a:lnTo>
                    <a:pt x="107" y="14"/>
                  </a:lnTo>
                  <a:lnTo>
                    <a:pt x="123" y="8"/>
                  </a:lnTo>
                  <a:lnTo>
                    <a:pt x="140" y="4"/>
                  </a:lnTo>
                  <a:lnTo>
                    <a:pt x="157" y="2"/>
                  </a:lnTo>
                  <a:lnTo>
                    <a:pt x="175" y="0"/>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prstClr val="black"/>
                </a:solidFill>
                <a:latin typeface="Calibri"/>
              </a:endParaRPr>
            </a:p>
          </p:txBody>
        </p:sp>
      </p:grpSp>
      <p:sp>
        <p:nvSpPr>
          <p:cNvPr id="94" name="TextBox 93">
            <a:extLst>
              <a:ext uri="{FF2B5EF4-FFF2-40B4-BE49-F238E27FC236}">
                <a16:creationId xmlns:a16="http://schemas.microsoft.com/office/drawing/2014/main" xmlns="" id="{4C15273D-7B98-41EA-B712-8147D1F50FDA}"/>
              </a:ext>
            </a:extLst>
          </p:cNvPr>
          <p:cNvSpPr txBox="1"/>
          <p:nvPr/>
        </p:nvSpPr>
        <p:spPr>
          <a:xfrm>
            <a:off x="2271252" y="4080387"/>
            <a:ext cx="2389540" cy="699450"/>
          </a:xfrm>
          <a:prstGeom prst="roundRect">
            <a:avLst/>
          </a:prstGeom>
        </p:spPr>
        <p:style>
          <a:lnRef idx="3">
            <a:schemeClr val="lt1"/>
          </a:lnRef>
          <a:fillRef idx="1">
            <a:schemeClr val="accent5"/>
          </a:fillRef>
          <a:effectRef idx="1">
            <a:schemeClr val="accent5"/>
          </a:effectRef>
          <a:fontRef idx="minor">
            <a:schemeClr val="lt1"/>
          </a:fontRef>
        </p:style>
        <p:txBody>
          <a:bodyPr wrap="square" lIns="0" tIns="0" rIns="0" bIns="0" rtlCol="0">
            <a:spAutoFit/>
          </a:bodyPr>
          <a:lstStyle/>
          <a:p>
            <a:pPr algn="ctr" defTabSz="1218987"/>
            <a:r>
              <a:rPr lang="en-US" sz="2000" b="1" kern="0" dirty="0">
                <a:solidFill>
                  <a:prstClr val="white"/>
                </a:solidFill>
                <a:latin typeface="Arial" pitchFamily="34" charset="0"/>
                <a:cs typeface="Arial" pitchFamily="34" charset="0"/>
              </a:rPr>
              <a:t>Presentation </a:t>
            </a:r>
          </a:p>
          <a:p>
            <a:pPr algn="ctr" defTabSz="1218987"/>
            <a:r>
              <a:rPr lang="en-US" sz="2000" b="1" kern="0" dirty="0">
                <a:solidFill>
                  <a:prstClr val="white"/>
                </a:solidFill>
                <a:latin typeface="Arial" pitchFamily="34" charset="0"/>
                <a:cs typeface="Arial" pitchFamily="34" charset="0"/>
              </a:rPr>
              <a:t>Skills</a:t>
            </a:r>
          </a:p>
        </p:txBody>
      </p:sp>
      <p:sp>
        <p:nvSpPr>
          <p:cNvPr id="95" name="TextBox 94">
            <a:extLst>
              <a:ext uri="{FF2B5EF4-FFF2-40B4-BE49-F238E27FC236}">
                <a16:creationId xmlns:a16="http://schemas.microsoft.com/office/drawing/2014/main" xmlns="" id="{4C15273D-7B98-41EA-B712-8147D1F50FDA}"/>
              </a:ext>
            </a:extLst>
          </p:cNvPr>
          <p:cNvSpPr txBox="1"/>
          <p:nvPr/>
        </p:nvSpPr>
        <p:spPr>
          <a:xfrm>
            <a:off x="2212258" y="1877961"/>
            <a:ext cx="2416517" cy="681038"/>
          </a:xfrm>
          <a:prstGeom prst="roundRect">
            <a:avLst/>
          </a:prstGeom>
        </p:spPr>
        <p:style>
          <a:lnRef idx="3">
            <a:schemeClr val="lt1"/>
          </a:lnRef>
          <a:fillRef idx="1">
            <a:schemeClr val="accent5"/>
          </a:fillRef>
          <a:effectRef idx="1">
            <a:schemeClr val="accent5"/>
          </a:effectRef>
          <a:fontRef idx="minor">
            <a:schemeClr val="lt1"/>
          </a:fontRef>
        </p:style>
        <p:txBody>
          <a:bodyPr wrap="square" lIns="0" tIns="0" rIns="0" bIns="0" rtlCol="0">
            <a:spAutoFit/>
          </a:bodyPr>
          <a:lstStyle/>
          <a:p>
            <a:pPr algn="ctr" defTabSz="1218987"/>
            <a:r>
              <a:rPr lang="en-US" sz="2000" b="1" kern="0" dirty="0">
                <a:solidFill>
                  <a:prstClr val="white"/>
                </a:solidFill>
                <a:latin typeface="Arial" pitchFamily="34" charset="0"/>
                <a:cs typeface="Arial" pitchFamily="34" charset="0"/>
              </a:rPr>
              <a:t>Team </a:t>
            </a:r>
          </a:p>
          <a:p>
            <a:pPr algn="ctr" defTabSz="1218987"/>
            <a:r>
              <a:rPr lang="en-US" sz="2000" b="1" kern="0" dirty="0">
                <a:solidFill>
                  <a:prstClr val="white"/>
                </a:solidFill>
                <a:latin typeface="Arial" pitchFamily="34" charset="0"/>
                <a:cs typeface="Arial" pitchFamily="34" charset="0"/>
              </a:rPr>
              <a:t>Creation</a:t>
            </a:r>
          </a:p>
        </p:txBody>
      </p:sp>
      <p:sp>
        <p:nvSpPr>
          <p:cNvPr id="97" name="TextBox 96">
            <a:extLst>
              <a:ext uri="{FF2B5EF4-FFF2-40B4-BE49-F238E27FC236}">
                <a16:creationId xmlns:a16="http://schemas.microsoft.com/office/drawing/2014/main" xmlns="" id="{4C15273D-7B98-41EA-B712-8147D1F50FDA}"/>
              </a:ext>
            </a:extLst>
          </p:cNvPr>
          <p:cNvSpPr txBox="1"/>
          <p:nvPr/>
        </p:nvSpPr>
        <p:spPr>
          <a:xfrm>
            <a:off x="2810951" y="2923025"/>
            <a:ext cx="2359244" cy="681038"/>
          </a:xfrm>
          <a:prstGeom prst="roundRect">
            <a:avLst/>
          </a:prstGeom>
        </p:spPr>
        <p:style>
          <a:lnRef idx="3">
            <a:schemeClr val="lt1"/>
          </a:lnRef>
          <a:fillRef idx="1">
            <a:schemeClr val="accent5"/>
          </a:fillRef>
          <a:effectRef idx="1">
            <a:schemeClr val="accent5"/>
          </a:effectRef>
          <a:fontRef idx="minor">
            <a:schemeClr val="lt1"/>
          </a:fontRef>
        </p:style>
        <p:txBody>
          <a:bodyPr wrap="square" lIns="0" tIns="0" rIns="0" bIns="0" rtlCol="0">
            <a:spAutoFit/>
          </a:bodyPr>
          <a:lstStyle/>
          <a:p>
            <a:pPr algn="ctr" defTabSz="1218987"/>
            <a:r>
              <a:rPr lang="en-US" sz="2000" b="1" kern="0" dirty="0">
                <a:solidFill>
                  <a:prstClr val="white"/>
                </a:solidFill>
                <a:latin typeface="Arial" pitchFamily="34" charset="0"/>
                <a:cs typeface="Arial" pitchFamily="34" charset="0"/>
              </a:rPr>
              <a:t>Decision</a:t>
            </a:r>
          </a:p>
          <a:p>
            <a:pPr algn="ctr" defTabSz="1218987"/>
            <a:r>
              <a:rPr lang="en-US" sz="2000" b="1" kern="0" dirty="0">
                <a:solidFill>
                  <a:prstClr val="white"/>
                </a:solidFill>
                <a:latin typeface="Arial" pitchFamily="34" charset="0"/>
                <a:cs typeface="Arial" pitchFamily="34" charset="0"/>
              </a:rPr>
              <a:t>Making</a:t>
            </a:r>
          </a:p>
        </p:txBody>
      </p:sp>
      <p:grpSp>
        <p:nvGrpSpPr>
          <p:cNvPr id="98" name="Group 97"/>
          <p:cNvGrpSpPr/>
          <p:nvPr/>
        </p:nvGrpSpPr>
        <p:grpSpPr>
          <a:xfrm>
            <a:off x="1681520" y="5825612"/>
            <a:ext cx="355765" cy="339067"/>
            <a:chOff x="6475413" y="5907088"/>
            <a:chExt cx="295275" cy="296863"/>
          </a:xfrm>
        </p:grpSpPr>
        <p:sp>
          <p:nvSpPr>
            <p:cNvPr id="99" name="Freeform 25"/>
            <p:cNvSpPr>
              <a:spLocks/>
            </p:cNvSpPr>
            <p:nvPr/>
          </p:nvSpPr>
          <p:spPr bwMode="auto">
            <a:xfrm>
              <a:off x="6475413" y="5907088"/>
              <a:ext cx="295275" cy="296863"/>
            </a:xfrm>
            <a:custGeom>
              <a:avLst/>
              <a:gdLst>
                <a:gd name="T0" fmla="*/ 307 w 559"/>
                <a:gd name="T1" fmla="*/ 2 h 560"/>
                <a:gd name="T2" fmla="*/ 349 w 559"/>
                <a:gd name="T3" fmla="*/ 10 h 560"/>
                <a:gd name="T4" fmla="*/ 388 w 559"/>
                <a:gd name="T5" fmla="*/ 22 h 560"/>
                <a:gd name="T6" fmla="*/ 424 w 559"/>
                <a:gd name="T7" fmla="*/ 41 h 560"/>
                <a:gd name="T8" fmla="*/ 457 w 559"/>
                <a:gd name="T9" fmla="*/ 64 h 560"/>
                <a:gd name="T10" fmla="*/ 486 w 559"/>
                <a:gd name="T11" fmla="*/ 92 h 560"/>
                <a:gd name="T12" fmla="*/ 511 w 559"/>
                <a:gd name="T13" fmla="*/ 124 h 560"/>
                <a:gd name="T14" fmla="*/ 531 w 559"/>
                <a:gd name="T15" fmla="*/ 159 h 560"/>
                <a:gd name="T16" fmla="*/ 546 w 559"/>
                <a:gd name="T17" fmla="*/ 197 h 560"/>
                <a:gd name="T18" fmla="*/ 556 w 559"/>
                <a:gd name="T19" fmla="*/ 237 h 560"/>
                <a:gd name="T20" fmla="*/ 559 w 559"/>
                <a:gd name="T21" fmla="*/ 280 h 560"/>
                <a:gd name="T22" fmla="*/ 556 w 559"/>
                <a:gd name="T23" fmla="*/ 322 h 560"/>
                <a:gd name="T24" fmla="*/ 546 w 559"/>
                <a:gd name="T25" fmla="*/ 363 h 560"/>
                <a:gd name="T26" fmla="*/ 531 w 559"/>
                <a:gd name="T27" fmla="*/ 400 h 560"/>
                <a:gd name="T28" fmla="*/ 511 w 559"/>
                <a:gd name="T29" fmla="*/ 437 h 560"/>
                <a:gd name="T30" fmla="*/ 486 w 559"/>
                <a:gd name="T31" fmla="*/ 468 h 560"/>
                <a:gd name="T32" fmla="*/ 457 w 559"/>
                <a:gd name="T33" fmla="*/ 495 h 560"/>
                <a:gd name="T34" fmla="*/ 424 w 559"/>
                <a:gd name="T35" fmla="*/ 519 h 560"/>
                <a:gd name="T36" fmla="*/ 388 w 559"/>
                <a:gd name="T37" fmla="*/ 537 h 560"/>
                <a:gd name="T38" fmla="*/ 349 w 559"/>
                <a:gd name="T39" fmla="*/ 551 h 560"/>
                <a:gd name="T40" fmla="*/ 307 w 559"/>
                <a:gd name="T41" fmla="*/ 557 h 560"/>
                <a:gd name="T42" fmla="*/ 264 w 559"/>
                <a:gd name="T43" fmla="*/ 559 h 560"/>
                <a:gd name="T44" fmla="*/ 223 w 559"/>
                <a:gd name="T45" fmla="*/ 554 h 560"/>
                <a:gd name="T46" fmla="*/ 183 w 559"/>
                <a:gd name="T47" fmla="*/ 543 h 560"/>
                <a:gd name="T48" fmla="*/ 146 w 559"/>
                <a:gd name="T49" fmla="*/ 526 h 560"/>
                <a:gd name="T50" fmla="*/ 112 w 559"/>
                <a:gd name="T51" fmla="*/ 503 h 560"/>
                <a:gd name="T52" fmla="*/ 81 w 559"/>
                <a:gd name="T53" fmla="*/ 477 h 560"/>
                <a:gd name="T54" fmla="*/ 55 w 559"/>
                <a:gd name="T55" fmla="*/ 447 h 560"/>
                <a:gd name="T56" fmla="*/ 34 w 559"/>
                <a:gd name="T57" fmla="*/ 413 h 560"/>
                <a:gd name="T58" fmla="*/ 17 w 559"/>
                <a:gd name="T59" fmla="*/ 376 h 560"/>
                <a:gd name="T60" fmla="*/ 6 w 559"/>
                <a:gd name="T61" fmla="*/ 336 h 560"/>
                <a:gd name="T62" fmla="*/ 0 w 559"/>
                <a:gd name="T63" fmla="*/ 294 h 560"/>
                <a:gd name="T64" fmla="*/ 1 w 559"/>
                <a:gd name="T65" fmla="*/ 251 h 560"/>
                <a:gd name="T66" fmla="*/ 8 w 559"/>
                <a:gd name="T67" fmla="*/ 209 h 560"/>
                <a:gd name="T68" fmla="*/ 22 w 559"/>
                <a:gd name="T69" fmla="*/ 171 h 560"/>
                <a:gd name="T70" fmla="*/ 40 w 559"/>
                <a:gd name="T71" fmla="*/ 135 h 560"/>
                <a:gd name="T72" fmla="*/ 63 w 559"/>
                <a:gd name="T73" fmla="*/ 102 h 560"/>
                <a:gd name="T74" fmla="*/ 92 w 559"/>
                <a:gd name="T75" fmla="*/ 73 h 560"/>
                <a:gd name="T76" fmla="*/ 123 w 559"/>
                <a:gd name="T77" fmla="*/ 48 h 560"/>
                <a:gd name="T78" fmla="*/ 158 w 559"/>
                <a:gd name="T79" fmla="*/ 28 h 560"/>
                <a:gd name="T80" fmla="*/ 197 w 559"/>
                <a:gd name="T81" fmla="*/ 13 h 560"/>
                <a:gd name="T82" fmla="*/ 236 w 559"/>
                <a:gd name="T83" fmla="*/ 4 h 560"/>
                <a:gd name="T84" fmla="*/ 279 w 559"/>
                <a:gd name="T85" fmla="*/ 0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59" h="560">
                  <a:moveTo>
                    <a:pt x="279" y="0"/>
                  </a:moveTo>
                  <a:lnTo>
                    <a:pt x="294" y="0"/>
                  </a:lnTo>
                  <a:lnTo>
                    <a:pt x="307" y="2"/>
                  </a:lnTo>
                  <a:lnTo>
                    <a:pt x="322" y="4"/>
                  </a:lnTo>
                  <a:lnTo>
                    <a:pt x="336" y="6"/>
                  </a:lnTo>
                  <a:lnTo>
                    <a:pt x="349" y="10"/>
                  </a:lnTo>
                  <a:lnTo>
                    <a:pt x="363" y="13"/>
                  </a:lnTo>
                  <a:lnTo>
                    <a:pt x="375" y="17"/>
                  </a:lnTo>
                  <a:lnTo>
                    <a:pt x="388" y="22"/>
                  </a:lnTo>
                  <a:lnTo>
                    <a:pt x="400" y="28"/>
                  </a:lnTo>
                  <a:lnTo>
                    <a:pt x="412" y="34"/>
                  </a:lnTo>
                  <a:lnTo>
                    <a:pt x="424" y="41"/>
                  </a:lnTo>
                  <a:lnTo>
                    <a:pt x="435" y="48"/>
                  </a:lnTo>
                  <a:lnTo>
                    <a:pt x="446" y="56"/>
                  </a:lnTo>
                  <a:lnTo>
                    <a:pt x="457" y="64"/>
                  </a:lnTo>
                  <a:lnTo>
                    <a:pt x="467" y="73"/>
                  </a:lnTo>
                  <a:lnTo>
                    <a:pt x="477" y="82"/>
                  </a:lnTo>
                  <a:lnTo>
                    <a:pt x="486" y="92"/>
                  </a:lnTo>
                  <a:lnTo>
                    <a:pt x="495" y="102"/>
                  </a:lnTo>
                  <a:lnTo>
                    <a:pt x="503" y="112"/>
                  </a:lnTo>
                  <a:lnTo>
                    <a:pt x="511" y="124"/>
                  </a:lnTo>
                  <a:lnTo>
                    <a:pt x="519" y="135"/>
                  </a:lnTo>
                  <a:lnTo>
                    <a:pt x="525" y="146"/>
                  </a:lnTo>
                  <a:lnTo>
                    <a:pt x="531" y="159"/>
                  </a:lnTo>
                  <a:lnTo>
                    <a:pt x="537" y="171"/>
                  </a:lnTo>
                  <a:lnTo>
                    <a:pt x="542" y="183"/>
                  </a:lnTo>
                  <a:lnTo>
                    <a:pt x="546" y="197"/>
                  </a:lnTo>
                  <a:lnTo>
                    <a:pt x="550" y="209"/>
                  </a:lnTo>
                  <a:lnTo>
                    <a:pt x="554" y="223"/>
                  </a:lnTo>
                  <a:lnTo>
                    <a:pt x="556" y="237"/>
                  </a:lnTo>
                  <a:lnTo>
                    <a:pt x="557" y="251"/>
                  </a:lnTo>
                  <a:lnTo>
                    <a:pt x="558" y="265"/>
                  </a:lnTo>
                  <a:lnTo>
                    <a:pt x="559" y="280"/>
                  </a:lnTo>
                  <a:lnTo>
                    <a:pt x="558" y="294"/>
                  </a:lnTo>
                  <a:lnTo>
                    <a:pt x="557" y="308"/>
                  </a:lnTo>
                  <a:lnTo>
                    <a:pt x="556" y="322"/>
                  </a:lnTo>
                  <a:lnTo>
                    <a:pt x="554" y="336"/>
                  </a:lnTo>
                  <a:lnTo>
                    <a:pt x="550" y="350"/>
                  </a:lnTo>
                  <a:lnTo>
                    <a:pt x="546" y="363"/>
                  </a:lnTo>
                  <a:lnTo>
                    <a:pt x="542" y="376"/>
                  </a:lnTo>
                  <a:lnTo>
                    <a:pt x="537" y="389"/>
                  </a:lnTo>
                  <a:lnTo>
                    <a:pt x="531" y="400"/>
                  </a:lnTo>
                  <a:lnTo>
                    <a:pt x="525" y="413"/>
                  </a:lnTo>
                  <a:lnTo>
                    <a:pt x="519" y="425"/>
                  </a:lnTo>
                  <a:lnTo>
                    <a:pt x="511" y="437"/>
                  </a:lnTo>
                  <a:lnTo>
                    <a:pt x="503" y="447"/>
                  </a:lnTo>
                  <a:lnTo>
                    <a:pt x="495" y="458"/>
                  </a:lnTo>
                  <a:lnTo>
                    <a:pt x="486" y="468"/>
                  </a:lnTo>
                  <a:lnTo>
                    <a:pt x="477" y="477"/>
                  </a:lnTo>
                  <a:lnTo>
                    <a:pt x="467" y="486"/>
                  </a:lnTo>
                  <a:lnTo>
                    <a:pt x="457" y="495"/>
                  </a:lnTo>
                  <a:lnTo>
                    <a:pt x="446" y="503"/>
                  </a:lnTo>
                  <a:lnTo>
                    <a:pt x="435" y="511"/>
                  </a:lnTo>
                  <a:lnTo>
                    <a:pt x="424" y="519"/>
                  </a:lnTo>
                  <a:lnTo>
                    <a:pt x="412" y="526"/>
                  </a:lnTo>
                  <a:lnTo>
                    <a:pt x="400" y="531"/>
                  </a:lnTo>
                  <a:lnTo>
                    <a:pt x="388" y="537"/>
                  </a:lnTo>
                  <a:lnTo>
                    <a:pt x="375" y="543"/>
                  </a:lnTo>
                  <a:lnTo>
                    <a:pt x="363" y="547"/>
                  </a:lnTo>
                  <a:lnTo>
                    <a:pt x="349" y="551"/>
                  </a:lnTo>
                  <a:lnTo>
                    <a:pt x="336" y="554"/>
                  </a:lnTo>
                  <a:lnTo>
                    <a:pt x="322" y="556"/>
                  </a:lnTo>
                  <a:lnTo>
                    <a:pt x="307" y="557"/>
                  </a:lnTo>
                  <a:lnTo>
                    <a:pt x="294" y="559"/>
                  </a:lnTo>
                  <a:lnTo>
                    <a:pt x="279" y="560"/>
                  </a:lnTo>
                  <a:lnTo>
                    <a:pt x="264" y="559"/>
                  </a:lnTo>
                  <a:lnTo>
                    <a:pt x="251" y="557"/>
                  </a:lnTo>
                  <a:lnTo>
                    <a:pt x="236" y="556"/>
                  </a:lnTo>
                  <a:lnTo>
                    <a:pt x="223" y="554"/>
                  </a:lnTo>
                  <a:lnTo>
                    <a:pt x="209" y="551"/>
                  </a:lnTo>
                  <a:lnTo>
                    <a:pt x="197" y="547"/>
                  </a:lnTo>
                  <a:lnTo>
                    <a:pt x="183" y="543"/>
                  </a:lnTo>
                  <a:lnTo>
                    <a:pt x="171" y="537"/>
                  </a:lnTo>
                  <a:lnTo>
                    <a:pt x="158" y="531"/>
                  </a:lnTo>
                  <a:lnTo>
                    <a:pt x="146" y="526"/>
                  </a:lnTo>
                  <a:lnTo>
                    <a:pt x="134" y="519"/>
                  </a:lnTo>
                  <a:lnTo>
                    <a:pt x="123" y="511"/>
                  </a:lnTo>
                  <a:lnTo>
                    <a:pt x="112" y="503"/>
                  </a:lnTo>
                  <a:lnTo>
                    <a:pt x="102" y="495"/>
                  </a:lnTo>
                  <a:lnTo>
                    <a:pt x="92" y="486"/>
                  </a:lnTo>
                  <a:lnTo>
                    <a:pt x="81" y="477"/>
                  </a:lnTo>
                  <a:lnTo>
                    <a:pt x="72" y="468"/>
                  </a:lnTo>
                  <a:lnTo>
                    <a:pt x="63" y="458"/>
                  </a:lnTo>
                  <a:lnTo>
                    <a:pt x="55" y="447"/>
                  </a:lnTo>
                  <a:lnTo>
                    <a:pt x="47" y="437"/>
                  </a:lnTo>
                  <a:lnTo>
                    <a:pt x="40" y="425"/>
                  </a:lnTo>
                  <a:lnTo>
                    <a:pt x="34" y="413"/>
                  </a:lnTo>
                  <a:lnTo>
                    <a:pt x="27" y="400"/>
                  </a:lnTo>
                  <a:lnTo>
                    <a:pt x="22" y="389"/>
                  </a:lnTo>
                  <a:lnTo>
                    <a:pt x="17" y="376"/>
                  </a:lnTo>
                  <a:lnTo>
                    <a:pt x="12" y="363"/>
                  </a:lnTo>
                  <a:lnTo>
                    <a:pt x="8" y="350"/>
                  </a:lnTo>
                  <a:lnTo>
                    <a:pt x="6" y="336"/>
                  </a:lnTo>
                  <a:lnTo>
                    <a:pt x="2" y="322"/>
                  </a:lnTo>
                  <a:lnTo>
                    <a:pt x="1" y="308"/>
                  </a:lnTo>
                  <a:lnTo>
                    <a:pt x="0" y="294"/>
                  </a:lnTo>
                  <a:lnTo>
                    <a:pt x="0" y="280"/>
                  </a:lnTo>
                  <a:lnTo>
                    <a:pt x="0" y="265"/>
                  </a:lnTo>
                  <a:lnTo>
                    <a:pt x="1" y="251"/>
                  </a:lnTo>
                  <a:lnTo>
                    <a:pt x="2" y="237"/>
                  </a:lnTo>
                  <a:lnTo>
                    <a:pt x="6" y="223"/>
                  </a:lnTo>
                  <a:lnTo>
                    <a:pt x="8" y="209"/>
                  </a:lnTo>
                  <a:lnTo>
                    <a:pt x="12" y="197"/>
                  </a:lnTo>
                  <a:lnTo>
                    <a:pt x="17" y="183"/>
                  </a:lnTo>
                  <a:lnTo>
                    <a:pt x="22" y="171"/>
                  </a:lnTo>
                  <a:lnTo>
                    <a:pt x="27" y="159"/>
                  </a:lnTo>
                  <a:lnTo>
                    <a:pt x="34" y="146"/>
                  </a:lnTo>
                  <a:lnTo>
                    <a:pt x="40" y="135"/>
                  </a:lnTo>
                  <a:lnTo>
                    <a:pt x="47" y="124"/>
                  </a:lnTo>
                  <a:lnTo>
                    <a:pt x="55" y="112"/>
                  </a:lnTo>
                  <a:lnTo>
                    <a:pt x="63" y="102"/>
                  </a:lnTo>
                  <a:lnTo>
                    <a:pt x="72" y="92"/>
                  </a:lnTo>
                  <a:lnTo>
                    <a:pt x="81" y="82"/>
                  </a:lnTo>
                  <a:lnTo>
                    <a:pt x="92" y="73"/>
                  </a:lnTo>
                  <a:lnTo>
                    <a:pt x="102" y="64"/>
                  </a:lnTo>
                  <a:lnTo>
                    <a:pt x="112" y="56"/>
                  </a:lnTo>
                  <a:lnTo>
                    <a:pt x="123" y="48"/>
                  </a:lnTo>
                  <a:lnTo>
                    <a:pt x="134" y="41"/>
                  </a:lnTo>
                  <a:lnTo>
                    <a:pt x="146" y="34"/>
                  </a:lnTo>
                  <a:lnTo>
                    <a:pt x="158" y="28"/>
                  </a:lnTo>
                  <a:lnTo>
                    <a:pt x="171" y="22"/>
                  </a:lnTo>
                  <a:lnTo>
                    <a:pt x="183" y="17"/>
                  </a:lnTo>
                  <a:lnTo>
                    <a:pt x="197" y="13"/>
                  </a:lnTo>
                  <a:lnTo>
                    <a:pt x="209" y="10"/>
                  </a:lnTo>
                  <a:lnTo>
                    <a:pt x="223" y="6"/>
                  </a:lnTo>
                  <a:lnTo>
                    <a:pt x="236" y="4"/>
                  </a:lnTo>
                  <a:lnTo>
                    <a:pt x="251" y="2"/>
                  </a:lnTo>
                  <a:lnTo>
                    <a:pt x="264" y="0"/>
                  </a:lnTo>
                  <a:lnTo>
                    <a:pt x="279"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1218987"/>
              <a:endParaRPr lang="en-US" sz="2400">
                <a:solidFill>
                  <a:prstClr val="black"/>
                </a:solidFill>
                <a:latin typeface="Calibri"/>
              </a:endParaRPr>
            </a:p>
          </p:txBody>
        </p:sp>
        <p:sp>
          <p:nvSpPr>
            <p:cNvPr id="100" name="Freeform 26"/>
            <p:cNvSpPr>
              <a:spLocks/>
            </p:cNvSpPr>
            <p:nvPr/>
          </p:nvSpPr>
          <p:spPr bwMode="auto">
            <a:xfrm>
              <a:off x="6529738" y="5962650"/>
              <a:ext cx="184150" cy="185738"/>
            </a:xfrm>
            <a:custGeom>
              <a:avLst/>
              <a:gdLst>
                <a:gd name="T0" fmla="*/ 193 w 350"/>
                <a:gd name="T1" fmla="*/ 2 h 351"/>
                <a:gd name="T2" fmla="*/ 227 w 350"/>
                <a:gd name="T3" fmla="*/ 8 h 351"/>
                <a:gd name="T4" fmla="*/ 259 w 350"/>
                <a:gd name="T5" fmla="*/ 22 h 351"/>
                <a:gd name="T6" fmla="*/ 287 w 350"/>
                <a:gd name="T7" fmla="*/ 40 h 351"/>
                <a:gd name="T8" fmla="*/ 311 w 350"/>
                <a:gd name="T9" fmla="*/ 65 h 351"/>
                <a:gd name="T10" fmla="*/ 330 w 350"/>
                <a:gd name="T11" fmla="*/ 92 h 351"/>
                <a:gd name="T12" fmla="*/ 342 w 350"/>
                <a:gd name="T13" fmla="*/ 124 h 351"/>
                <a:gd name="T14" fmla="*/ 349 w 350"/>
                <a:gd name="T15" fmla="*/ 157 h 351"/>
                <a:gd name="T16" fmla="*/ 349 w 350"/>
                <a:gd name="T17" fmla="*/ 194 h 351"/>
                <a:gd name="T18" fmla="*/ 342 w 350"/>
                <a:gd name="T19" fmla="*/ 227 h 351"/>
                <a:gd name="T20" fmla="*/ 330 w 350"/>
                <a:gd name="T21" fmla="*/ 259 h 351"/>
                <a:gd name="T22" fmla="*/ 311 w 350"/>
                <a:gd name="T23" fmla="*/ 287 h 351"/>
                <a:gd name="T24" fmla="*/ 287 w 350"/>
                <a:gd name="T25" fmla="*/ 311 h 351"/>
                <a:gd name="T26" fmla="*/ 259 w 350"/>
                <a:gd name="T27" fmla="*/ 330 h 351"/>
                <a:gd name="T28" fmla="*/ 227 w 350"/>
                <a:gd name="T29" fmla="*/ 343 h 351"/>
                <a:gd name="T30" fmla="*/ 193 w 350"/>
                <a:gd name="T31" fmla="*/ 351 h 351"/>
                <a:gd name="T32" fmla="*/ 157 w 350"/>
                <a:gd name="T33" fmla="*/ 351 h 351"/>
                <a:gd name="T34" fmla="*/ 123 w 350"/>
                <a:gd name="T35" fmla="*/ 343 h 351"/>
                <a:gd name="T36" fmla="*/ 92 w 350"/>
                <a:gd name="T37" fmla="*/ 330 h 351"/>
                <a:gd name="T38" fmla="*/ 63 w 350"/>
                <a:gd name="T39" fmla="*/ 311 h 351"/>
                <a:gd name="T40" fmla="*/ 40 w 350"/>
                <a:gd name="T41" fmla="*/ 287 h 351"/>
                <a:gd name="T42" fmla="*/ 21 w 350"/>
                <a:gd name="T43" fmla="*/ 259 h 351"/>
                <a:gd name="T44" fmla="*/ 8 w 350"/>
                <a:gd name="T45" fmla="*/ 227 h 351"/>
                <a:gd name="T46" fmla="*/ 1 w 350"/>
                <a:gd name="T47" fmla="*/ 194 h 351"/>
                <a:gd name="T48" fmla="*/ 1 w 350"/>
                <a:gd name="T49" fmla="*/ 157 h 351"/>
                <a:gd name="T50" fmla="*/ 8 w 350"/>
                <a:gd name="T51" fmla="*/ 124 h 351"/>
                <a:gd name="T52" fmla="*/ 21 w 350"/>
                <a:gd name="T53" fmla="*/ 92 h 351"/>
                <a:gd name="T54" fmla="*/ 40 w 350"/>
                <a:gd name="T55" fmla="*/ 65 h 351"/>
                <a:gd name="T56" fmla="*/ 63 w 350"/>
                <a:gd name="T57" fmla="*/ 40 h 351"/>
                <a:gd name="T58" fmla="*/ 92 w 350"/>
                <a:gd name="T59" fmla="*/ 22 h 351"/>
                <a:gd name="T60" fmla="*/ 123 w 350"/>
                <a:gd name="T61" fmla="*/ 8 h 351"/>
                <a:gd name="T62" fmla="*/ 157 w 350"/>
                <a:gd name="T63" fmla="*/ 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0" h="351">
                  <a:moveTo>
                    <a:pt x="175" y="0"/>
                  </a:moveTo>
                  <a:lnTo>
                    <a:pt x="193" y="2"/>
                  </a:lnTo>
                  <a:lnTo>
                    <a:pt x="210" y="4"/>
                  </a:lnTo>
                  <a:lnTo>
                    <a:pt x="227" y="8"/>
                  </a:lnTo>
                  <a:lnTo>
                    <a:pt x="243" y="14"/>
                  </a:lnTo>
                  <a:lnTo>
                    <a:pt x="259" y="22"/>
                  </a:lnTo>
                  <a:lnTo>
                    <a:pt x="273" y="31"/>
                  </a:lnTo>
                  <a:lnTo>
                    <a:pt x="287" y="40"/>
                  </a:lnTo>
                  <a:lnTo>
                    <a:pt x="299" y="51"/>
                  </a:lnTo>
                  <a:lnTo>
                    <a:pt x="311" y="65"/>
                  </a:lnTo>
                  <a:lnTo>
                    <a:pt x="321" y="77"/>
                  </a:lnTo>
                  <a:lnTo>
                    <a:pt x="330" y="92"/>
                  </a:lnTo>
                  <a:lnTo>
                    <a:pt x="337" y="108"/>
                  </a:lnTo>
                  <a:lnTo>
                    <a:pt x="342" y="124"/>
                  </a:lnTo>
                  <a:lnTo>
                    <a:pt x="347" y="140"/>
                  </a:lnTo>
                  <a:lnTo>
                    <a:pt x="349" y="157"/>
                  </a:lnTo>
                  <a:lnTo>
                    <a:pt x="350" y="176"/>
                  </a:lnTo>
                  <a:lnTo>
                    <a:pt x="349" y="194"/>
                  </a:lnTo>
                  <a:lnTo>
                    <a:pt x="347" y="211"/>
                  </a:lnTo>
                  <a:lnTo>
                    <a:pt x="342" y="227"/>
                  </a:lnTo>
                  <a:lnTo>
                    <a:pt x="337" y="244"/>
                  </a:lnTo>
                  <a:lnTo>
                    <a:pt x="330" y="259"/>
                  </a:lnTo>
                  <a:lnTo>
                    <a:pt x="321" y="274"/>
                  </a:lnTo>
                  <a:lnTo>
                    <a:pt x="311" y="287"/>
                  </a:lnTo>
                  <a:lnTo>
                    <a:pt x="299" y="300"/>
                  </a:lnTo>
                  <a:lnTo>
                    <a:pt x="287" y="311"/>
                  </a:lnTo>
                  <a:lnTo>
                    <a:pt x="273" y="321"/>
                  </a:lnTo>
                  <a:lnTo>
                    <a:pt x="259" y="330"/>
                  </a:lnTo>
                  <a:lnTo>
                    <a:pt x="243" y="337"/>
                  </a:lnTo>
                  <a:lnTo>
                    <a:pt x="227" y="343"/>
                  </a:lnTo>
                  <a:lnTo>
                    <a:pt x="210" y="347"/>
                  </a:lnTo>
                  <a:lnTo>
                    <a:pt x="193" y="351"/>
                  </a:lnTo>
                  <a:lnTo>
                    <a:pt x="175" y="351"/>
                  </a:lnTo>
                  <a:lnTo>
                    <a:pt x="157" y="351"/>
                  </a:lnTo>
                  <a:lnTo>
                    <a:pt x="140" y="347"/>
                  </a:lnTo>
                  <a:lnTo>
                    <a:pt x="123" y="343"/>
                  </a:lnTo>
                  <a:lnTo>
                    <a:pt x="107" y="337"/>
                  </a:lnTo>
                  <a:lnTo>
                    <a:pt x="92" y="330"/>
                  </a:lnTo>
                  <a:lnTo>
                    <a:pt x="77" y="321"/>
                  </a:lnTo>
                  <a:lnTo>
                    <a:pt x="63" y="311"/>
                  </a:lnTo>
                  <a:lnTo>
                    <a:pt x="51" y="300"/>
                  </a:lnTo>
                  <a:lnTo>
                    <a:pt x="40" y="287"/>
                  </a:lnTo>
                  <a:lnTo>
                    <a:pt x="29" y="274"/>
                  </a:lnTo>
                  <a:lnTo>
                    <a:pt x="21" y="259"/>
                  </a:lnTo>
                  <a:lnTo>
                    <a:pt x="14" y="244"/>
                  </a:lnTo>
                  <a:lnTo>
                    <a:pt x="8" y="227"/>
                  </a:lnTo>
                  <a:lnTo>
                    <a:pt x="3" y="211"/>
                  </a:lnTo>
                  <a:lnTo>
                    <a:pt x="1" y="194"/>
                  </a:lnTo>
                  <a:lnTo>
                    <a:pt x="0" y="176"/>
                  </a:lnTo>
                  <a:lnTo>
                    <a:pt x="1" y="157"/>
                  </a:lnTo>
                  <a:lnTo>
                    <a:pt x="3" y="140"/>
                  </a:lnTo>
                  <a:lnTo>
                    <a:pt x="8" y="124"/>
                  </a:lnTo>
                  <a:lnTo>
                    <a:pt x="14" y="108"/>
                  </a:lnTo>
                  <a:lnTo>
                    <a:pt x="21" y="92"/>
                  </a:lnTo>
                  <a:lnTo>
                    <a:pt x="29" y="77"/>
                  </a:lnTo>
                  <a:lnTo>
                    <a:pt x="40" y="65"/>
                  </a:lnTo>
                  <a:lnTo>
                    <a:pt x="51" y="51"/>
                  </a:lnTo>
                  <a:lnTo>
                    <a:pt x="63" y="40"/>
                  </a:lnTo>
                  <a:lnTo>
                    <a:pt x="77" y="31"/>
                  </a:lnTo>
                  <a:lnTo>
                    <a:pt x="92" y="22"/>
                  </a:lnTo>
                  <a:lnTo>
                    <a:pt x="107" y="14"/>
                  </a:lnTo>
                  <a:lnTo>
                    <a:pt x="123" y="8"/>
                  </a:lnTo>
                  <a:lnTo>
                    <a:pt x="140" y="4"/>
                  </a:lnTo>
                  <a:lnTo>
                    <a:pt x="157" y="2"/>
                  </a:lnTo>
                  <a:lnTo>
                    <a:pt x="175" y="0"/>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prstClr val="black"/>
                </a:solidFill>
                <a:latin typeface="Calibri"/>
              </a:endParaRPr>
            </a:p>
          </p:txBody>
        </p:sp>
      </p:grpSp>
      <p:sp>
        <p:nvSpPr>
          <p:cNvPr id="101" name="TextBox 100">
            <a:extLst>
              <a:ext uri="{FF2B5EF4-FFF2-40B4-BE49-F238E27FC236}">
                <a16:creationId xmlns:a16="http://schemas.microsoft.com/office/drawing/2014/main" xmlns="" id="{4C15273D-7B98-41EA-B712-8147D1F50FDA}"/>
              </a:ext>
            </a:extLst>
          </p:cNvPr>
          <p:cNvSpPr txBox="1"/>
          <p:nvPr/>
        </p:nvSpPr>
        <p:spPr>
          <a:xfrm>
            <a:off x="2803162" y="5341195"/>
            <a:ext cx="2359244" cy="340519"/>
          </a:xfrm>
          <a:prstGeom prst="roundRect">
            <a:avLst/>
          </a:prstGeom>
        </p:spPr>
        <p:style>
          <a:lnRef idx="3">
            <a:schemeClr val="lt1"/>
          </a:lnRef>
          <a:fillRef idx="1">
            <a:schemeClr val="accent5"/>
          </a:fillRef>
          <a:effectRef idx="1">
            <a:schemeClr val="accent5"/>
          </a:effectRef>
          <a:fontRef idx="minor">
            <a:schemeClr val="lt1"/>
          </a:fontRef>
        </p:style>
        <p:txBody>
          <a:bodyPr wrap="square" lIns="0" tIns="0" rIns="0" bIns="0" rtlCol="0">
            <a:spAutoFit/>
          </a:bodyPr>
          <a:lstStyle/>
          <a:p>
            <a:pPr algn="ctr" defTabSz="1218987"/>
            <a:r>
              <a:rPr lang="en-US" sz="2000" b="1" kern="0" dirty="0">
                <a:solidFill>
                  <a:prstClr val="white"/>
                </a:solidFill>
                <a:latin typeface="Arial" pitchFamily="34" charset="0"/>
                <a:cs typeface="Arial" pitchFamily="34" charset="0"/>
              </a:rPr>
              <a:t>Welcome Video</a:t>
            </a:r>
          </a:p>
        </p:txBody>
      </p:sp>
      <p:sp>
        <p:nvSpPr>
          <p:cNvPr id="128" name="Rounded Rectangle 127"/>
          <p:cNvSpPr/>
          <p:nvPr/>
        </p:nvSpPr>
        <p:spPr>
          <a:xfrm>
            <a:off x="1389758" y="5352173"/>
            <a:ext cx="707859" cy="256517"/>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r>
              <a:rPr lang="en-IN" sz="1200" i="1" dirty="0">
                <a:solidFill>
                  <a:srgbClr val="009783"/>
                </a:solidFill>
                <a:latin typeface="Calibri"/>
              </a:rPr>
              <a:t>5 minutes</a:t>
            </a:r>
          </a:p>
        </p:txBody>
      </p:sp>
      <p:sp>
        <p:nvSpPr>
          <p:cNvPr id="130" name="Rounded Rectangle 129"/>
          <p:cNvSpPr/>
          <p:nvPr/>
        </p:nvSpPr>
        <p:spPr>
          <a:xfrm>
            <a:off x="1127547" y="4275005"/>
            <a:ext cx="707859" cy="256517"/>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r>
              <a:rPr lang="en-IN" sz="1200" i="1" dirty="0">
                <a:solidFill>
                  <a:srgbClr val="009783"/>
                </a:solidFill>
                <a:latin typeface="Calibri"/>
              </a:rPr>
              <a:t>130 minutes</a:t>
            </a:r>
          </a:p>
        </p:txBody>
      </p:sp>
      <p:sp>
        <p:nvSpPr>
          <p:cNvPr id="131" name="Rounded Rectangle 130"/>
          <p:cNvSpPr/>
          <p:nvPr/>
        </p:nvSpPr>
        <p:spPr>
          <a:xfrm>
            <a:off x="1562827" y="3109884"/>
            <a:ext cx="707859" cy="256517"/>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r>
              <a:rPr lang="en-IN" sz="1200" i="1" dirty="0">
                <a:solidFill>
                  <a:srgbClr val="009783"/>
                </a:solidFill>
                <a:latin typeface="Calibri"/>
              </a:rPr>
              <a:t>130 minutes</a:t>
            </a:r>
          </a:p>
        </p:txBody>
      </p:sp>
      <p:sp>
        <p:nvSpPr>
          <p:cNvPr id="132" name="Rounded Rectangle 131"/>
          <p:cNvSpPr/>
          <p:nvPr/>
        </p:nvSpPr>
        <p:spPr>
          <a:xfrm>
            <a:off x="920945" y="2109394"/>
            <a:ext cx="707859" cy="32298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r>
              <a:rPr lang="en-IN" sz="1200" i="1" dirty="0">
                <a:solidFill>
                  <a:srgbClr val="009783"/>
                </a:solidFill>
                <a:latin typeface="Calibri"/>
              </a:rPr>
              <a:t>130 minutes</a:t>
            </a:r>
          </a:p>
        </p:txBody>
      </p:sp>
      <p:sp>
        <p:nvSpPr>
          <p:cNvPr id="137" name="TextBox 136"/>
          <p:cNvSpPr txBox="1"/>
          <p:nvPr/>
        </p:nvSpPr>
        <p:spPr>
          <a:xfrm>
            <a:off x="6499042" y="3741833"/>
            <a:ext cx="2681313" cy="338554"/>
          </a:xfrm>
          <a:prstGeom prst="rect">
            <a:avLst/>
          </a:prstGeom>
          <a:noFill/>
        </p:spPr>
        <p:txBody>
          <a:bodyPr wrap="square" rtlCol="0">
            <a:spAutoFit/>
          </a:bodyPr>
          <a:lstStyle/>
          <a:p>
            <a:pPr defTabSz="1218987"/>
            <a:r>
              <a:rPr lang="en-IN" sz="1600" i="1" dirty="0">
                <a:solidFill>
                  <a:prstClr val="black"/>
                </a:solidFill>
                <a:latin typeface="Calibri"/>
              </a:rPr>
              <a:t>Welcome Video by </a:t>
            </a:r>
            <a:r>
              <a:rPr lang="en-IN" sz="1600" b="1" i="1" dirty="0" err="1">
                <a:solidFill>
                  <a:prstClr val="black"/>
                </a:solidFill>
                <a:latin typeface="Calibri"/>
              </a:rPr>
              <a:t>Pallavi</a:t>
            </a:r>
            <a:endParaRPr lang="en-IN" sz="1400" b="1" i="1" dirty="0">
              <a:solidFill>
                <a:prstClr val="black"/>
              </a:solidFill>
              <a:latin typeface="Calibri"/>
            </a:endParaRPr>
          </a:p>
        </p:txBody>
      </p:sp>
      <p:sp>
        <p:nvSpPr>
          <p:cNvPr id="124" name="TextBox 123"/>
          <p:cNvSpPr txBox="1"/>
          <p:nvPr/>
        </p:nvSpPr>
        <p:spPr>
          <a:xfrm>
            <a:off x="3071558" y="14499"/>
            <a:ext cx="8063541" cy="461665"/>
          </a:xfrm>
          <a:prstGeom prst="rect">
            <a:avLst/>
          </a:prstGeom>
          <a:noFill/>
        </p:spPr>
        <p:txBody>
          <a:bodyPr wrap="square" rtlCol="0">
            <a:spAutoFit/>
          </a:bodyPr>
          <a:lstStyle/>
          <a:p>
            <a:pPr defTabSz="1218987"/>
            <a:r>
              <a:rPr lang="en-IN" sz="2400" dirty="0">
                <a:solidFill>
                  <a:srgbClr val="1F497D"/>
                </a:solidFill>
                <a:latin typeface="Arial Rounded MT Bold" panose="020F0704030504030204" pitchFamily="34" charset="0"/>
              </a:rPr>
              <a:t>Young Emerging Professionals – India Launch</a:t>
            </a:r>
          </a:p>
        </p:txBody>
      </p:sp>
      <p:sp>
        <p:nvSpPr>
          <p:cNvPr id="125" name="Rounded Rectangle 124">
            <a:hlinkClick r:id="rId3"/>
          </p:cNvPr>
          <p:cNvSpPr/>
          <p:nvPr/>
        </p:nvSpPr>
        <p:spPr>
          <a:xfrm>
            <a:off x="10588731" y="41465"/>
            <a:ext cx="1409738" cy="749500"/>
          </a:xfrm>
          <a:prstGeom prst="roundRect">
            <a:avLst/>
          </a:prstGeom>
          <a:solidFill>
            <a:srgbClr val="1F497D"/>
          </a:solidFill>
        </p:spPr>
        <p:style>
          <a:lnRef idx="1">
            <a:schemeClr val="accent4"/>
          </a:lnRef>
          <a:fillRef idx="3">
            <a:schemeClr val="accent4"/>
          </a:fillRef>
          <a:effectRef idx="2">
            <a:schemeClr val="accent4"/>
          </a:effectRef>
          <a:fontRef idx="minor">
            <a:schemeClr val="lt1"/>
          </a:fontRef>
        </p:style>
        <p:txBody>
          <a:bodyPr rtlCol="0" anchor="ctr"/>
          <a:lstStyle/>
          <a:p>
            <a:pPr algn="ctr" defTabSz="1218987"/>
            <a:r>
              <a:rPr lang="en-IN" sz="2400" i="1" dirty="0">
                <a:solidFill>
                  <a:prstClr val="white"/>
                </a:solidFill>
                <a:latin typeface="Calibri"/>
              </a:rPr>
              <a:t>Y E P </a:t>
            </a:r>
            <a:r>
              <a:rPr lang="en-IN" sz="1600" i="1" dirty="0">
                <a:solidFill>
                  <a:prstClr val="white"/>
                </a:solidFill>
                <a:latin typeface="Calibri"/>
              </a:rPr>
              <a:t>LITE</a:t>
            </a:r>
          </a:p>
        </p:txBody>
      </p:sp>
      <p:sp>
        <p:nvSpPr>
          <p:cNvPr id="145" name="TextBox 144"/>
          <p:cNvSpPr txBox="1"/>
          <p:nvPr/>
        </p:nvSpPr>
        <p:spPr>
          <a:xfrm rot="16200000">
            <a:off x="-1439632" y="4860492"/>
            <a:ext cx="3520135" cy="584775"/>
          </a:xfrm>
          <a:prstGeom prst="rect">
            <a:avLst/>
          </a:prstGeom>
          <a:noFill/>
        </p:spPr>
        <p:txBody>
          <a:bodyPr wrap="square" rtlCol="0">
            <a:spAutoFit/>
          </a:bodyPr>
          <a:lstStyle/>
          <a:p>
            <a:pPr algn="r" defTabSz="1218987"/>
            <a:r>
              <a:rPr lang="en-IN" sz="3200" i="1" dirty="0">
                <a:solidFill>
                  <a:srgbClr val="1F497D"/>
                </a:solidFill>
                <a:latin typeface="Arial Rounded MT Bold" panose="020F0704030504030204" pitchFamily="34" charset="0"/>
              </a:rPr>
              <a:t>Learner Journey</a:t>
            </a:r>
          </a:p>
        </p:txBody>
      </p:sp>
      <p:pic>
        <p:nvPicPr>
          <p:cNvPr id="78" name="Picture 10" descr="Image result for information png image"/>
          <p:cNvPicPr>
            <a:picLocks noChangeAspect="1" noChangeArrowheads="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58613" y="4257502"/>
            <a:ext cx="375530" cy="399308"/>
          </a:xfrm>
          <a:prstGeom prst="rect">
            <a:avLst/>
          </a:prstGeom>
          <a:noFill/>
          <a:extLst>
            <a:ext uri="{909E8E84-426E-40DD-AFC4-6F175D3DCCD1}">
              <a14:hiddenFill xmlns:a14="http://schemas.microsoft.com/office/drawing/2010/main">
                <a:solidFill>
                  <a:srgbClr val="FFFFFF"/>
                </a:solidFill>
              </a14:hiddenFill>
            </a:ext>
          </a:extLst>
        </p:spPr>
      </p:pic>
      <p:sp>
        <p:nvSpPr>
          <p:cNvPr id="79" name="TextBox 78"/>
          <p:cNvSpPr txBox="1"/>
          <p:nvPr/>
        </p:nvSpPr>
        <p:spPr>
          <a:xfrm>
            <a:off x="10055561" y="2966291"/>
            <a:ext cx="1919122" cy="400110"/>
          </a:xfrm>
          <a:prstGeom prst="rect">
            <a:avLst/>
          </a:prstGeom>
          <a:noFill/>
        </p:spPr>
        <p:txBody>
          <a:bodyPr wrap="square" rtlCol="0">
            <a:spAutoFit/>
          </a:bodyPr>
          <a:lstStyle/>
          <a:p>
            <a:pPr algn="r" defTabSz="1218987"/>
            <a:r>
              <a:rPr lang="en-IN" sz="2000" dirty="0">
                <a:solidFill>
                  <a:srgbClr val="1F497D"/>
                </a:solidFill>
                <a:latin typeface="Arial Rounded MT Bold" panose="020F0704030504030204" pitchFamily="34" charset="0"/>
              </a:rPr>
              <a:t>Highlights</a:t>
            </a:r>
          </a:p>
        </p:txBody>
      </p:sp>
      <p:sp>
        <p:nvSpPr>
          <p:cNvPr id="81" name="TextBox 80"/>
          <p:cNvSpPr txBox="1"/>
          <p:nvPr/>
        </p:nvSpPr>
        <p:spPr>
          <a:xfrm>
            <a:off x="6509924" y="4182370"/>
            <a:ext cx="3132919" cy="338554"/>
          </a:xfrm>
          <a:prstGeom prst="rect">
            <a:avLst/>
          </a:prstGeom>
          <a:noFill/>
        </p:spPr>
        <p:txBody>
          <a:bodyPr wrap="square" rtlCol="0">
            <a:spAutoFit/>
          </a:bodyPr>
          <a:lstStyle/>
          <a:p>
            <a:pPr defTabSz="1218987"/>
            <a:r>
              <a:rPr lang="en-IN" sz="1600" i="1" dirty="0">
                <a:solidFill>
                  <a:prstClr val="black"/>
                </a:solidFill>
                <a:latin typeface="Calibri"/>
              </a:rPr>
              <a:t>Competency Lessons via </a:t>
            </a:r>
            <a:r>
              <a:rPr lang="en-IN" sz="1600" b="1" i="1" dirty="0">
                <a:solidFill>
                  <a:prstClr val="black"/>
                </a:solidFill>
                <a:latin typeface="Calibri"/>
              </a:rPr>
              <a:t>HMM</a:t>
            </a:r>
            <a:endParaRPr lang="en-IN" sz="1400" b="1" i="1" dirty="0">
              <a:solidFill>
                <a:prstClr val="black"/>
              </a:solidFill>
              <a:latin typeface="Calibri"/>
            </a:endParaRPr>
          </a:p>
        </p:txBody>
      </p:sp>
      <p:sp>
        <p:nvSpPr>
          <p:cNvPr id="107" name="TextBox 106"/>
          <p:cNvSpPr txBox="1"/>
          <p:nvPr/>
        </p:nvSpPr>
        <p:spPr>
          <a:xfrm>
            <a:off x="10035394" y="3668324"/>
            <a:ext cx="1901143" cy="584775"/>
          </a:xfrm>
          <a:prstGeom prst="rect">
            <a:avLst/>
          </a:prstGeom>
          <a:noFill/>
        </p:spPr>
        <p:txBody>
          <a:bodyPr wrap="square" rtlCol="0">
            <a:spAutoFit/>
          </a:bodyPr>
          <a:lstStyle/>
          <a:p>
            <a:pPr defTabSz="1218987"/>
            <a:r>
              <a:rPr lang="en-IN" sz="1600" b="1" i="1" dirty="0">
                <a:solidFill>
                  <a:prstClr val="black"/>
                </a:solidFill>
                <a:latin typeface="Calibri"/>
              </a:rPr>
              <a:t>Launch</a:t>
            </a:r>
            <a:r>
              <a:rPr lang="en-IN" sz="1600" i="1" dirty="0">
                <a:solidFill>
                  <a:prstClr val="black"/>
                </a:solidFill>
                <a:latin typeface="Calibri"/>
              </a:rPr>
              <a:t>  for </a:t>
            </a:r>
            <a:r>
              <a:rPr lang="en-IN" sz="1600" b="1" i="1" dirty="0">
                <a:solidFill>
                  <a:prstClr val="black"/>
                </a:solidFill>
                <a:latin typeface="Calibri"/>
              </a:rPr>
              <a:t>6000</a:t>
            </a:r>
            <a:r>
              <a:rPr lang="en-IN" sz="1600" i="1" dirty="0">
                <a:solidFill>
                  <a:prstClr val="black"/>
                </a:solidFill>
                <a:latin typeface="Calibri"/>
              </a:rPr>
              <a:t> employees Pan India</a:t>
            </a:r>
          </a:p>
        </p:txBody>
      </p:sp>
      <p:pic>
        <p:nvPicPr>
          <p:cNvPr id="108" name="Picture 10" descr="Image result for information png image"/>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599265" y="3714162"/>
            <a:ext cx="455021" cy="436159"/>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5826889" y="3402735"/>
            <a:ext cx="6180306" cy="3357281"/>
          </a:xfrm>
          <a:prstGeom prst="rect">
            <a:avLst/>
          </a:prstGeom>
          <a:noFill/>
          <a:ln w="12700">
            <a:solidFill>
              <a:schemeClr val="tx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IN" sz="2400">
              <a:solidFill>
                <a:prstClr val="white"/>
              </a:solidFill>
              <a:latin typeface="Calibri"/>
            </a:endParaRPr>
          </a:p>
        </p:txBody>
      </p:sp>
      <p:pic>
        <p:nvPicPr>
          <p:cNvPr id="67" name="Picture 10" descr="Image result for information png image">
            <a:extLst>
              <a:ext uri="{FF2B5EF4-FFF2-40B4-BE49-F238E27FC236}">
                <a16:creationId xmlns:a16="http://schemas.microsoft.com/office/drawing/2014/main" xmlns="" id="{296E451B-F3D8-4F6C-ADD0-50BC213261C7}"/>
              </a:ext>
            </a:extLst>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58623" y="5357385"/>
            <a:ext cx="375530" cy="399308"/>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10" descr="Image result for information png image">
            <a:extLst>
              <a:ext uri="{FF2B5EF4-FFF2-40B4-BE49-F238E27FC236}">
                <a16:creationId xmlns:a16="http://schemas.microsoft.com/office/drawing/2014/main" xmlns="" id="{296E451B-F3D8-4F6C-ADD0-50BC213261C7}"/>
              </a:ext>
            </a:extLst>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55230" y="3725301"/>
            <a:ext cx="375530" cy="399308"/>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10" descr="Image result for information png image"/>
          <p:cNvPicPr>
            <a:picLocks noChangeAspect="1" noChangeArrowheads="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55230" y="4175235"/>
            <a:ext cx="375530" cy="399308"/>
          </a:xfrm>
          <a:prstGeom prst="rect">
            <a:avLst/>
          </a:prstGeom>
          <a:noFill/>
          <a:extLst>
            <a:ext uri="{909E8E84-426E-40DD-AFC4-6F175D3DCCD1}">
              <a14:hiddenFill xmlns:a14="http://schemas.microsoft.com/office/drawing/2010/main">
                <a:solidFill>
                  <a:srgbClr val="FFFFFF"/>
                </a:solidFill>
              </a14:hiddenFill>
            </a:ext>
          </a:extLst>
        </p:spPr>
      </p:pic>
      <p:sp>
        <p:nvSpPr>
          <p:cNvPr id="112" name="TextBox 111"/>
          <p:cNvSpPr txBox="1"/>
          <p:nvPr/>
        </p:nvSpPr>
        <p:spPr>
          <a:xfrm>
            <a:off x="10003438" y="4253099"/>
            <a:ext cx="1901143" cy="584775"/>
          </a:xfrm>
          <a:prstGeom prst="rect">
            <a:avLst/>
          </a:prstGeom>
          <a:noFill/>
        </p:spPr>
        <p:txBody>
          <a:bodyPr wrap="square" rtlCol="0">
            <a:spAutoFit/>
          </a:bodyPr>
          <a:lstStyle/>
          <a:p>
            <a:pPr defTabSz="1218987"/>
            <a:r>
              <a:rPr lang="en-IN" sz="1600" i="1" dirty="0">
                <a:solidFill>
                  <a:prstClr val="black"/>
                </a:solidFill>
                <a:latin typeface="Calibri"/>
              </a:rPr>
              <a:t>Complete Learning Journey on </a:t>
            </a:r>
            <a:r>
              <a:rPr lang="en-IN" sz="1600" b="1" i="1" dirty="0">
                <a:solidFill>
                  <a:prstClr val="black"/>
                </a:solidFill>
                <a:latin typeface="Calibri"/>
              </a:rPr>
              <a:t>Degreed</a:t>
            </a:r>
          </a:p>
        </p:txBody>
      </p:sp>
      <p:pic>
        <p:nvPicPr>
          <p:cNvPr id="113" name="Picture 10" descr="Image result for information png image"/>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610886" y="4323308"/>
            <a:ext cx="415736" cy="425020"/>
          </a:xfrm>
          <a:prstGeom prst="rect">
            <a:avLst/>
          </a:prstGeom>
          <a:noFill/>
          <a:extLst>
            <a:ext uri="{909E8E84-426E-40DD-AFC4-6F175D3DCCD1}">
              <a14:hiddenFill xmlns:a14="http://schemas.microsoft.com/office/drawing/2010/main">
                <a:solidFill>
                  <a:srgbClr val="FFFFFF"/>
                </a:solidFill>
              </a14:hiddenFill>
            </a:ext>
          </a:extLst>
        </p:spPr>
      </p:pic>
      <p:sp>
        <p:nvSpPr>
          <p:cNvPr id="114" name="TextBox 113"/>
          <p:cNvSpPr txBox="1"/>
          <p:nvPr/>
        </p:nvSpPr>
        <p:spPr>
          <a:xfrm>
            <a:off x="6499042" y="4695198"/>
            <a:ext cx="1877603" cy="338554"/>
          </a:xfrm>
          <a:prstGeom prst="rect">
            <a:avLst/>
          </a:prstGeom>
          <a:noFill/>
        </p:spPr>
        <p:txBody>
          <a:bodyPr wrap="square" rtlCol="0">
            <a:spAutoFit/>
          </a:bodyPr>
          <a:lstStyle/>
          <a:p>
            <a:pPr defTabSz="1218987"/>
            <a:r>
              <a:rPr lang="en-IN" sz="1600" b="1" i="1" dirty="0">
                <a:solidFill>
                  <a:prstClr val="black"/>
                </a:solidFill>
                <a:latin typeface="Calibri"/>
              </a:rPr>
              <a:t>YEP LITE Certificate</a:t>
            </a:r>
            <a:r>
              <a:rPr lang="en-IN" sz="1600" i="1" dirty="0">
                <a:solidFill>
                  <a:prstClr val="black"/>
                </a:solidFill>
                <a:latin typeface="Calibri"/>
              </a:rPr>
              <a:t> </a:t>
            </a:r>
            <a:endParaRPr lang="en-IN" sz="1600" b="1" i="1" dirty="0">
              <a:solidFill>
                <a:prstClr val="black"/>
              </a:solidFill>
              <a:latin typeface="Calibri"/>
            </a:endParaRPr>
          </a:p>
        </p:txBody>
      </p:sp>
      <p:pic>
        <p:nvPicPr>
          <p:cNvPr id="115" name="Picture 10" descr="Image result for information png image"/>
          <p:cNvPicPr>
            <a:picLocks noChangeAspect="1" noChangeArrowheads="1"/>
          </p:cNvPicPr>
          <p:nvPr/>
        </p:nvPicPr>
        <p:blipFill>
          <a:blip r:embed="rId4"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bwMode="auto">
          <a:xfrm>
            <a:off x="6036638" y="4685151"/>
            <a:ext cx="412714" cy="421931"/>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10" descr="Image result for information png image"/>
          <p:cNvPicPr>
            <a:picLocks noChangeAspect="1" noChangeArrowheads="1"/>
          </p:cNvPicPr>
          <p:nvPr/>
        </p:nvPicPr>
        <p:blipFill>
          <a:blip r:embed="rId4"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bwMode="auto">
          <a:xfrm>
            <a:off x="1263468" y="138862"/>
            <a:ext cx="415736" cy="425020"/>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mage result for mouse hand png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20700000">
            <a:off x="4032680" y="1397014"/>
            <a:ext cx="394061" cy="394061"/>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2" descr="Image result for mouse hand png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20700000">
            <a:off x="4799996" y="5570425"/>
            <a:ext cx="394061" cy="394061"/>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2" descr="Image result for mouse hand png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20700000">
            <a:off x="11725750" y="300363"/>
            <a:ext cx="394061" cy="394061"/>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2" descr="Image result for Capgemini png ic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4078" y="71733"/>
            <a:ext cx="538237" cy="539853"/>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10" descr="Image result for information png image">
            <a:extLst>
              <a:ext uri="{FF2B5EF4-FFF2-40B4-BE49-F238E27FC236}">
                <a16:creationId xmlns:a16="http://schemas.microsoft.com/office/drawing/2014/main" xmlns="" id="{05A393F9-ADEA-4A3D-8104-F870988F224E}"/>
              </a:ext>
            </a:extLst>
          </p:cNvPr>
          <p:cNvPicPr>
            <a:picLocks noChangeAspect="1" noChangeArrowheads="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05717" y="3102627"/>
            <a:ext cx="375530" cy="399308"/>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10" descr="Image result for information png image">
            <a:extLst>
              <a:ext uri="{FF2B5EF4-FFF2-40B4-BE49-F238E27FC236}">
                <a16:creationId xmlns:a16="http://schemas.microsoft.com/office/drawing/2014/main" xmlns="" id="{BB9A270F-495B-419D-BF12-03B40521F84F}"/>
              </a:ext>
            </a:extLst>
          </p:cNvPr>
          <p:cNvPicPr>
            <a:picLocks noChangeAspect="1" noChangeArrowheads="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32666" y="2095415"/>
            <a:ext cx="375530" cy="399308"/>
          </a:xfrm>
          <a:prstGeom prst="rect">
            <a:avLst/>
          </a:prstGeom>
          <a:noFill/>
          <a:extLst>
            <a:ext uri="{909E8E84-426E-40DD-AFC4-6F175D3DCCD1}">
              <a14:hiddenFill xmlns:a14="http://schemas.microsoft.com/office/drawing/2010/main">
                <a:solidFill>
                  <a:srgbClr val="FFFFFF"/>
                </a:solidFill>
              </a14:hiddenFill>
            </a:ext>
          </a:extLst>
        </p:spPr>
      </p:pic>
      <p:sp>
        <p:nvSpPr>
          <p:cNvPr id="120" name="TextBox 119">
            <a:extLst>
              <a:ext uri="{FF2B5EF4-FFF2-40B4-BE49-F238E27FC236}">
                <a16:creationId xmlns:a16="http://schemas.microsoft.com/office/drawing/2014/main" xmlns="" id="{7E2E608F-599E-40BE-A660-B0F58A4A3B04}"/>
              </a:ext>
            </a:extLst>
          </p:cNvPr>
          <p:cNvSpPr txBox="1"/>
          <p:nvPr/>
        </p:nvSpPr>
        <p:spPr>
          <a:xfrm>
            <a:off x="2031481" y="6057284"/>
            <a:ext cx="2389540" cy="340519"/>
          </a:xfrm>
          <a:prstGeom prst="roundRect">
            <a:avLst/>
          </a:prstGeom>
        </p:spPr>
        <p:style>
          <a:lnRef idx="3">
            <a:schemeClr val="lt1"/>
          </a:lnRef>
          <a:fillRef idx="1">
            <a:schemeClr val="accent5"/>
          </a:fillRef>
          <a:effectRef idx="1">
            <a:schemeClr val="accent5"/>
          </a:effectRef>
          <a:fontRef idx="minor">
            <a:schemeClr val="lt1"/>
          </a:fontRef>
        </p:style>
        <p:txBody>
          <a:bodyPr wrap="square" lIns="0" tIns="0" rIns="0" bIns="0" rtlCol="0">
            <a:spAutoFit/>
          </a:bodyPr>
          <a:lstStyle/>
          <a:p>
            <a:pPr algn="ctr" defTabSz="1218987"/>
            <a:r>
              <a:rPr lang="en-US" sz="2000" b="1" kern="0" dirty="0">
                <a:solidFill>
                  <a:prstClr val="white"/>
                </a:solidFill>
                <a:latin typeface="Arial" pitchFamily="34" charset="0"/>
                <a:cs typeface="Arial" pitchFamily="34" charset="0"/>
              </a:rPr>
              <a:t>Launch Mailer</a:t>
            </a:r>
          </a:p>
        </p:txBody>
      </p:sp>
      <p:sp>
        <p:nvSpPr>
          <p:cNvPr id="4" name="TextBox 3">
            <a:extLst>
              <a:ext uri="{FF2B5EF4-FFF2-40B4-BE49-F238E27FC236}">
                <a16:creationId xmlns:a16="http://schemas.microsoft.com/office/drawing/2014/main" xmlns="" id="{83743050-F778-4418-8C91-FE4D4A62F249}"/>
              </a:ext>
            </a:extLst>
          </p:cNvPr>
          <p:cNvSpPr txBox="1"/>
          <p:nvPr/>
        </p:nvSpPr>
        <p:spPr>
          <a:xfrm>
            <a:off x="6860863" y="1036392"/>
            <a:ext cx="5643253" cy="2616101"/>
          </a:xfrm>
          <a:prstGeom prst="rect">
            <a:avLst/>
          </a:prstGeom>
          <a:noFill/>
        </p:spPr>
        <p:txBody>
          <a:bodyPr wrap="square" rtlCol="0">
            <a:spAutoFit/>
          </a:bodyPr>
          <a:lstStyle/>
          <a:p>
            <a:r>
              <a:rPr lang="en-US" sz="2000" b="1" u="sng" dirty="0">
                <a:solidFill>
                  <a:schemeClr val="tx2"/>
                </a:solidFill>
              </a:rPr>
              <a:t>Program Genesis</a:t>
            </a:r>
          </a:p>
          <a:p>
            <a:endParaRPr lang="en-US" b="1" dirty="0"/>
          </a:p>
          <a:p>
            <a:r>
              <a:rPr lang="en-US" b="1" dirty="0">
                <a:solidFill>
                  <a:schemeClr val="tx2"/>
                </a:solidFill>
              </a:rPr>
              <a:t>YEP LITE</a:t>
            </a:r>
            <a:r>
              <a:rPr lang="en-US" dirty="0"/>
              <a:t> – Ready for Launch by May 2020 with 5 Milestones</a:t>
            </a:r>
          </a:p>
          <a:p>
            <a:pPr marL="285750" indent="-285750">
              <a:buFont typeface="Wingdings" panose="05000000000000000000" pitchFamily="2" charset="2"/>
              <a:buChar char="v"/>
            </a:pPr>
            <a:r>
              <a:rPr lang="en-US" dirty="0"/>
              <a:t>Welcome Video by CHRO</a:t>
            </a:r>
          </a:p>
          <a:p>
            <a:pPr marL="285750" indent="-285750">
              <a:buFont typeface="Wingdings" panose="05000000000000000000" pitchFamily="2" charset="2"/>
              <a:buChar char="v"/>
            </a:pPr>
            <a:r>
              <a:rPr lang="en-US" dirty="0"/>
              <a:t>3 Harvard </a:t>
            </a:r>
            <a:r>
              <a:rPr lang="en-US" dirty="0" err="1"/>
              <a:t>MentorManage</a:t>
            </a:r>
            <a:r>
              <a:rPr lang="en-US" dirty="0"/>
              <a:t> Modules</a:t>
            </a:r>
          </a:p>
          <a:p>
            <a:pPr marL="285750" indent="-285750">
              <a:buFont typeface="Wingdings" panose="05000000000000000000" pitchFamily="2" charset="2"/>
              <a:buChar char="v"/>
            </a:pPr>
            <a:r>
              <a:rPr lang="en-US" dirty="0"/>
              <a:t>YEP Café – Virtual Touchpoint session – 90 Minutes</a:t>
            </a:r>
          </a:p>
          <a:p>
            <a:endParaRPr lang="en-US" dirty="0"/>
          </a:p>
          <a:p>
            <a:endParaRPr lang="en-US" dirty="0"/>
          </a:p>
        </p:txBody>
      </p:sp>
      <p:sp>
        <p:nvSpPr>
          <p:cNvPr id="5" name="Oval 4">
            <a:extLst>
              <a:ext uri="{FF2B5EF4-FFF2-40B4-BE49-F238E27FC236}">
                <a16:creationId xmlns:a16="http://schemas.microsoft.com/office/drawing/2014/main" xmlns="" id="{64A12645-D4ED-419B-B344-49ADD4AB241C}"/>
              </a:ext>
            </a:extLst>
          </p:cNvPr>
          <p:cNvSpPr/>
          <p:nvPr/>
        </p:nvSpPr>
        <p:spPr>
          <a:xfrm>
            <a:off x="5968075" y="1791955"/>
            <a:ext cx="776533" cy="687840"/>
          </a:xfrm>
          <a:prstGeom prst="ellipse">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n-US" sz="3600" dirty="0">
              <a:latin typeface="Agency FB" panose="020B0503020202020204" pitchFamily="34" charset="0"/>
            </a:endParaRPr>
          </a:p>
        </p:txBody>
      </p:sp>
      <p:sp>
        <p:nvSpPr>
          <p:cNvPr id="7" name="TextBox 6">
            <a:extLst>
              <a:ext uri="{FF2B5EF4-FFF2-40B4-BE49-F238E27FC236}">
                <a16:creationId xmlns:a16="http://schemas.microsoft.com/office/drawing/2014/main" xmlns="" id="{23AEA35E-C0E8-4D49-9B69-0F690FC1B8F6}"/>
              </a:ext>
            </a:extLst>
          </p:cNvPr>
          <p:cNvSpPr txBox="1"/>
          <p:nvPr/>
        </p:nvSpPr>
        <p:spPr>
          <a:xfrm>
            <a:off x="5999793" y="5334000"/>
            <a:ext cx="5671354" cy="1200329"/>
          </a:xfrm>
          <a:prstGeom prst="rect">
            <a:avLst/>
          </a:prstGeom>
          <a:noFill/>
        </p:spPr>
        <p:txBody>
          <a:bodyPr wrap="square" rtlCol="0">
            <a:spAutoFit/>
          </a:bodyPr>
          <a:lstStyle/>
          <a:p>
            <a:r>
              <a:rPr lang="en-US" b="1" dirty="0"/>
              <a:t>  Eligibility</a:t>
            </a:r>
            <a:r>
              <a:rPr lang="en-US" dirty="0"/>
              <a:t> –  Employees at </a:t>
            </a:r>
            <a:r>
              <a:rPr lang="en-US" b="1" dirty="0"/>
              <a:t>B2, C1</a:t>
            </a:r>
            <a:r>
              <a:rPr lang="en-US" dirty="0"/>
              <a:t> who are Individual</a:t>
            </a:r>
          </a:p>
          <a:p>
            <a:r>
              <a:rPr lang="en-US" dirty="0"/>
              <a:t>  Contributors and non – people managers </a:t>
            </a:r>
          </a:p>
          <a:p>
            <a:endParaRPr lang="en-US" dirty="0"/>
          </a:p>
          <a:p>
            <a:r>
              <a:rPr lang="en-US" dirty="0"/>
              <a:t>  </a:t>
            </a:r>
            <a:r>
              <a:rPr lang="en-US" b="1" dirty="0"/>
              <a:t>Program Duration</a:t>
            </a:r>
            <a:r>
              <a:rPr lang="en-US" dirty="0"/>
              <a:t> : 5 Weeks</a:t>
            </a:r>
          </a:p>
        </p:txBody>
      </p:sp>
      <p:grpSp>
        <p:nvGrpSpPr>
          <p:cNvPr id="73" name="Group 72">
            <a:extLst>
              <a:ext uri="{FF2B5EF4-FFF2-40B4-BE49-F238E27FC236}">
                <a16:creationId xmlns:a16="http://schemas.microsoft.com/office/drawing/2014/main" xmlns="" id="{FD0F9CEC-8A0F-4EE2-BD3A-240ACF26F576}"/>
              </a:ext>
            </a:extLst>
          </p:cNvPr>
          <p:cNvGrpSpPr/>
          <p:nvPr/>
        </p:nvGrpSpPr>
        <p:grpSpPr>
          <a:xfrm>
            <a:off x="1600200" y="956333"/>
            <a:ext cx="355765" cy="339067"/>
            <a:chOff x="6475413" y="5907088"/>
            <a:chExt cx="295275" cy="296863"/>
          </a:xfrm>
        </p:grpSpPr>
        <p:sp>
          <p:nvSpPr>
            <p:cNvPr id="91" name="Freeform 25">
              <a:extLst>
                <a:ext uri="{FF2B5EF4-FFF2-40B4-BE49-F238E27FC236}">
                  <a16:creationId xmlns:a16="http://schemas.microsoft.com/office/drawing/2014/main" xmlns="" id="{CD5DEC8A-B95A-421C-BCAE-20BF3835085F}"/>
                </a:ext>
              </a:extLst>
            </p:cNvPr>
            <p:cNvSpPr>
              <a:spLocks/>
            </p:cNvSpPr>
            <p:nvPr/>
          </p:nvSpPr>
          <p:spPr bwMode="auto">
            <a:xfrm>
              <a:off x="6475413" y="5907088"/>
              <a:ext cx="295275" cy="296863"/>
            </a:xfrm>
            <a:custGeom>
              <a:avLst/>
              <a:gdLst>
                <a:gd name="T0" fmla="*/ 307 w 559"/>
                <a:gd name="T1" fmla="*/ 2 h 560"/>
                <a:gd name="T2" fmla="*/ 349 w 559"/>
                <a:gd name="T3" fmla="*/ 10 h 560"/>
                <a:gd name="T4" fmla="*/ 388 w 559"/>
                <a:gd name="T5" fmla="*/ 22 h 560"/>
                <a:gd name="T6" fmla="*/ 424 w 559"/>
                <a:gd name="T7" fmla="*/ 41 h 560"/>
                <a:gd name="T8" fmla="*/ 457 w 559"/>
                <a:gd name="T9" fmla="*/ 64 h 560"/>
                <a:gd name="T10" fmla="*/ 486 w 559"/>
                <a:gd name="T11" fmla="*/ 92 h 560"/>
                <a:gd name="T12" fmla="*/ 511 w 559"/>
                <a:gd name="T13" fmla="*/ 124 h 560"/>
                <a:gd name="T14" fmla="*/ 531 w 559"/>
                <a:gd name="T15" fmla="*/ 159 h 560"/>
                <a:gd name="T16" fmla="*/ 546 w 559"/>
                <a:gd name="T17" fmla="*/ 197 h 560"/>
                <a:gd name="T18" fmla="*/ 556 w 559"/>
                <a:gd name="T19" fmla="*/ 237 h 560"/>
                <a:gd name="T20" fmla="*/ 559 w 559"/>
                <a:gd name="T21" fmla="*/ 280 h 560"/>
                <a:gd name="T22" fmla="*/ 556 w 559"/>
                <a:gd name="T23" fmla="*/ 322 h 560"/>
                <a:gd name="T24" fmla="*/ 546 w 559"/>
                <a:gd name="T25" fmla="*/ 363 h 560"/>
                <a:gd name="T26" fmla="*/ 531 w 559"/>
                <a:gd name="T27" fmla="*/ 400 h 560"/>
                <a:gd name="T28" fmla="*/ 511 w 559"/>
                <a:gd name="T29" fmla="*/ 437 h 560"/>
                <a:gd name="T30" fmla="*/ 486 w 559"/>
                <a:gd name="T31" fmla="*/ 468 h 560"/>
                <a:gd name="T32" fmla="*/ 457 w 559"/>
                <a:gd name="T33" fmla="*/ 495 h 560"/>
                <a:gd name="T34" fmla="*/ 424 w 559"/>
                <a:gd name="T35" fmla="*/ 519 h 560"/>
                <a:gd name="T36" fmla="*/ 388 w 559"/>
                <a:gd name="T37" fmla="*/ 537 h 560"/>
                <a:gd name="T38" fmla="*/ 349 w 559"/>
                <a:gd name="T39" fmla="*/ 551 h 560"/>
                <a:gd name="T40" fmla="*/ 307 w 559"/>
                <a:gd name="T41" fmla="*/ 557 h 560"/>
                <a:gd name="T42" fmla="*/ 264 w 559"/>
                <a:gd name="T43" fmla="*/ 559 h 560"/>
                <a:gd name="T44" fmla="*/ 223 w 559"/>
                <a:gd name="T45" fmla="*/ 554 h 560"/>
                <a:gd name="T46" fmla="*/ 183 w 559"/>
                <a:gd name="T47" fmla="*/ 543 h 560"/>
                <a:gd name="T48" fmla="*/ 146 w 559"/>
                <a:gd name="T49" fmla="*/ 526 h 560"/>
                <a:gd name="T50" fmla="*/ 112 w 559"/>
                <a:gd name="T51" fmla="*/ 503 h 560"/>
                <a:gd name="T52" fmla="*/ 81 w 559"/>
                <a:gd name="T53" fmla="*/ 477 h 560"/>
                <a:gd name="T54" fmla="*/ 55 w 559"/>
                <a:gd name="T55" fmla="*/ 447 h 560"/>
                <a:gd name="T56" fmla="*/ 34 w 559"/>
                <a:gd name="T57" fmla="*/ 413 h 560"/>
                <a:gd name="T58" fmla="*/ 17 w 559"/>
                <a:gd name="T59" fmla="*/ 376 h 560"/>
                <a:gd name="T60" fmla="*/ 6 w 559"/>
                <a:gd name="T61" fmla="*/ 336 h 560"/>
                <a:gd name="T62" fmla="*/ 0 w 559"/>
                <a:gd name="T63" fmla="*/ 294 h 560"/>
                <a:gd name="T64" fmla="*/ 1 w 559"/>
                <a:gd name="T65" fmla="*/ 251 h 560"/>
                <a:gd name="T66" fmla="*/ 8 w 559"/>
                <a:gd name="T67" fmla="*/ 209 h 560"/>
                <a:gd name="T68" fmla="*/ 22 w 559"/>
                <a:gd name="T69" fmla="*/ 171 h 560"/>
                <a:gd name="T70" fmla="*/ 40 w 559"/>
                <a:gd name="T71" fmla="*/ 135 h 560"/>
                <a:gd name="T72" fmla="*/ 63 w 559"/>
                <a:gd name="T73" fmla="*/ 102 h 560"/>
                <a:gd name="T74" fmla="*/ 92 w 559"/>
                <a:gd name="T75" fmla="*/ 73 h 560"/>
                <a:gd name="T76" fmla="*/ 123 w 559"/>
                <a:gd name="T77" fmla="*/ 48 h 560"/>
                <a:gd name="T78" fmla="*/ 158 w 559"/>
                <a:gd name="T79" fmla="*/ 28 h 560"/>
                <a:gd name="T80" fmla="*/ 197 w 559"/>
                <a:gd name="T81" fmla="*/ 13 h 560"/>
                <a:gd name="T82" fmla="*/ 236 w 559"/>
                <a:gd name="T83" fmla="*/ 4 h 560"/>
                <a:gd name="T84" fmla="*/ 279 w 559"/>
                <a:gd name="T85" fmla="*/ 0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59" h="560">
                  <a:moveTo>
                    <a:pt x="279" y="0"/>
                  </a:moveTo>
                  <a:lnTo>
                    <a:pt x="294" y="0"/>
                  </a:lnTo>
                  <a:lnTo>
                    <a:pt x="307" y="2"/>
                  </a:lnTo>
                  <a:lnTo>
                    <a:pt x="322" y="4"/>
                  </a:lnTo>
                  <a:lnTo>
                    <a:pt x="336" y="6"/>
                  </a:lnTo>
                  <a:lnTo>
                    <a:pt x="349" y="10"/>
                  </a:lnTo>
                  <a:lnTo>
                    <a:pt x="363" y="13"/>
                  </a:lnTo>
                  <a:lnTo>
                    <a:pt x="375" y="17"/>
                  </a:lnTo>
                  <a:lnTo>
                    <a:pt x="388" y="22"/>
                  </a:lnTo>
                  <a:lnTo>
                    <a:pt x="400" y="28"/>
                  </a:lnTo>
                  <a:lnTo>
                    <a:pt x="412" y="34"/>
                  </a:lnTo>
                  <a:lnTo>
                    <a:pt x="424" y="41"/>
                  </a:lnTo>
                  <a:lnTo>
                    <a:pt x="435" y="48"/>
                  </a:lnTo>
                  <a:lnTo>
                    <a:pt x="446" y="56"/>
                  </a:lnTo>
                  <a:lnTo>
                    <a:pt x="457" y="64"/>
                  </a:lnTo>
                  <a:lnTo>
                    <a:pt x="467" y="73"/>
                  </a:lnTo>
                  <a:lnTo>
                    <a:pt x="477" y="82"/>
                  </a:lnTo>
                  <a:lnTo>
                    <a:pt x="486" y="92"/>
                  </a:lnTo>
                  <a:lnTo>
                    <a:pt x="495" y="102"/>
                  </a:lnTo>
                  <a:lnTo>
                    <a:pt x="503" y="112"/>
                  </a:lnTo>
                  <a:lnTo>
                    <a:pt x="511" y="124"/>
                  </a:lnTo>
                  <a:lnTo>
                    <a:pt x="519" y="135"/>
                  </a:lnTo>
                  <a:lnTo>
                    <a:pt x="525" y="146"/>
                  </a:lnTo>
                  <a:lnTo>
                    <a:pt x="531" y="159"/>
                  </a:lnTo>
                  <a:lnTo>
                    <a:pt x="537" y="171"/>
                  </a:lnTo>
                  <a:lnTo>
                    <a:pt x="542" y="183"/>
                  </a:lnTo>
                  <a:lnTo>
                    <a:pt x="546" y="197"/>
                  </a:lnTo>
                  <a:lnTo>
                    <a:pt x="550" y="209"/>
                  </a:lnTo>
                  <a:lnTo>
                    <a:pt x="554" y="223"/>
                  </a:lnTo>
                  <a:lnTo>
                    <a:pt x="556" y="237"/>
                  </a:lnTo>
                  <a:lnTo>
                    <a:pt x="557" y="251"/>
                  </a:lnTo>
                  <a:lnTo>
                    <a:pt x="558" y="265"/>
                  </a:lnTo>
                  <a:lnTo>
                    <a:pt x="559" y="280"/>
                  </a:lnTo>
                  <a:lnTo>
                    <a:pt x="558" y="294"/>
                  </a:lnTo>
                  <a:lnTo>
                    <a:pt x="557" y="308"/>
                  </a:lnTo>
                  <a:lnTo>
                    <a:pt x="556" y="322"/>
                  </a:lnTo>
                  <a:lnTo>
                    <a:pt x="554" y="336"/>
                  </a:lnTo>
                  <a:lnTo>
                    <a:pt x="550" y="350"/>
                  </a:lnTo>
                  <a:lnTo>
                    <a:pt x="546" y="363"/>
                  </a:lnTo>
                  <a:lnTo>
                    <a:pt x="542" y="376"/>
                  </a:lnTo>
                  <a:lnTo>
                    <a:pt x="537" y="389"/>
                  </a:lnTo>
                  <a:lnTo>
                    <a:pt x="531" y="400"/>
                  </a:lnTo>
                  <a:lnTo>
                    <a:pt x="525" y="413"/>
                  </a:lnTo>
                  <a:lnTo>
                    <a:pt x="519" y="425"/>
                  </a:lnTo>
                  <a:lnTo>
                    <a:pt x="511" y="437"/>
                  </a:lnTo>
                  <a:lnTo>
                    <a:pt x="503" y="447"/>
                  </a:lnTo>
                  <a:lnTo>
                    <a:pt x="495" y="458"/>
                  </a:lnTo>
                  <a:lnTo>
                    <a:pt x="486" y="468"/>
                  </a:lnTo>
                  <a:lnTo>
                    <a:pt x="477" y="477"/>
                  </a:lnTo>
                  <a:lnTo>
                    <a:pt x="467" y="486"/>
                  </a:lnTo>
                  <a:lnTo>
                    <a:pt x="457" y="495"/>
                  </a:lnTo>
                  <a:lnTo>
                    <a:pt x="446" y="503"/>
                  </a:lnTo>
                  <a:lnTo>
                    <a:pt x="435" y="511"/>
                  </a:lnTo>
                  <a:lnTo>
                    <a:pt x="424" y="519"/>
                  </a:lnTo>
                  <a:lnTo>
                    <a:pt x="412" y="526"/>
                  </a:lnTo>
                  <a:lnTo>
                    <a:pt x="400" y="531"/>
                  </a:lnTo>
                  <a:lnTo>
                    <a:pt x="388" y="537"/>
                  </a:lnTo>
                  <a:lnTo>
                    <a:pt x="375" y="543"/>
                  </a:lnTo>
                  <a:lnTo>
                    <a:pt x="363" y="547"/>
                  </a:lnTo>
                  <a:lnTo>
                    <a:pt x="349" y="551"/>
                  </a:lnTo>
                  <a:lnTo>
                    <a:pt x="336" y="554"/>
                  </a:lnTo>
                  <a:lnTo>
                    <a:pt x="322" y="556"/>
                  </a:lnTo>
                  <a:lnTo>
                    <a:pt x="307" y="557"/>
                  </a:lnTo>
                  <a:lnTo>
                    <a:pt x="294" y="559"/>
                  </a:lnTo>
                  <a:lnTo>
                    <a:pt x="279" y="560"/>
                  </a:lnTo>
                  <a:lnTo>
                    <a:pt x="264" y="559"/>
                  </a:lnTo>
                  <a:lnTo>
                    <a:pt x="251" y="557"/>
                  </a:lnTo>
                  <a:lnTo>
                    <a:pt x="236" y="556"/>
                  </a:lnTo>
                  <a:lnTo>
                    <a:pt x="223" y="554"/>
                  </a:lnTo>
                  <a:lnTo>
                    <a:pt x="209" y="551"/>
                  </a:lnTo>
                  <a:lnTo>
                    <a:pt x="197" y="547"/>
                  </a:lnTo>
                  <a:lnTo>
                    <a:pt x="183" y="543"/>
                  </a:lnTo>
                  <a:lnTo>
                    <a:pt x="171" y="537"/>
                  </a:lnTo>
                  <a:lnTo>
                    <a:pt x="158" y="531"/>
                  </a:lnTo>
                  <a:lnTo>
                    <a:pt x="146" y="526"/>
                  </a:lnTo>
                  <a:lnTo>
                    <a:pt x="134" y="519"/>
                  </a:lnTo>
                  <a:lnTo>
                    <a:pt x="123" y="511"/>
                  </a:lnTo>
                  <a:lnTo>
                    <a:pt x="112" y="503"/>
                  </a:lnTo>
                  <a:lnTo>
                    <a:pt x="102" y="495"/>
                  </a:lnTo>
                  <a:lnTo>
                    <a:pt x="92" y="486"/>
                  </a:lnTo>
                  <a:lnTo>
                    <a:pt x="81" y="477"/>
                  </a:lnTo>
                  <a:lnTo>
                    <a:pt x="72" y="468"/>
                  </a:lnTo>
                  <a:lnTo>
                    <a:pt x="63" y="458"/>
                  </a:lnTo>
                  <a:lnTo>
                    <a:pt x="55" y="447"/>
                  </a:lnTo>
                  <a:lnTo>
                    <a:pt x="47" y="437"/>
                  </a:lnTo>
                  <a:lnTo>
                    <a:pt x="40" y="425"/>
                  </a:lnTo>
                  <a:lnTo>
                    <a:pt x="34" y="413"/>
                  </a:lnTo>
                  <a:lnTo>
                    <a:pt x="27" y="400"/>
                  </a:lnTo>
                  <a:lnTo>
                    <a:pt x="22" y="389"/>
                  </a:lnTo>
                  <a:lnTo>
                    <a:pt x="17" y="376"/>
                  </a:lnTo>
                  <a:lnTo>
                    <a:pt x="12" y="363"/>
                  </a:lnTo>
                  <a:lnTo>
                    <a:pt x="8" y="350"/>
                  </a:lnTo>
                  <a:lnTo>
                    <a:pt x="6" y="336"/>
                  </a:lnTo>
                  <a:lnTo>
                    <a:pt x="2" y="322"/>
                  </a:lnTo>
                  <a:lnTo>
                    <a:pt x="1" y="308"/>
                  </a:lnTo>
                  <a:lnTo>
                    <a:pt x="0" y="294"/>
                  </a:lnTo>
                  <a:lnTo>
                    <a:pt x="0" y="280"/>
                  </a:lnTo>
                  <a:lnTo>
                    <a:pt x="0" y="265"/>
                  </a:lnTo>
                  <a:lnTo>
                    <a:pt x="1" y="251"/>
                  </a:lnTo>
                  <a:lnTo>
                    <a:pt x="2" y="237"/>
                  </a:lnTo>
                  <a:lnTo>
                    <a:pt x="6" y="223"/>
                  </a:lnTo>
                  <a:lnTo>
                    <a:pt x="8" y="209"/>
                  </a:lnTo>
                  <a:lnTo>
                    <a:pt x="12" y="197"/>
                  </a:lnTo>
                  <a:lnTo>
                    <a:pt x="17" y="183"/>
                  </a:lnTo>
                  <a:lnTo>
                    <a:pt x="22" y="171"/>
                  </a:lnTo>
                  <a:lnTo>
                    <a:pt x="27" y="159"/>
                  </a:lnTo>
                  <a:lnTo>
                    <a:pt x="34" y="146"/>
                  </a:lnTo>
                  <a:lnTo>
                    <a:pt x="40" y="135"/>
                  </a:lnTo>
                  <a:lnTo>
                    <a:pt x="47" y="124"/>
                  </a:lnTo>
                  <a:lnTo>
                    <a:pt x="55" y="112"/>
                  </a:lnTo>
                  <a:lnTo>
                    <a:pt x="63" y="102"/>
                  </a:lnTo>
                  <a:lnTo>
                    <a:pt x="72" y="92"/>
                  </a:lnTo>
                  <a:lnTo>
                    <a:pt x="81" y="82"/>
                  </a:lnTo>
                  <a:lnTo>
                    <a:pt x="92" y="73"/>
                  </a:lnTo>
                  <a:lnTo>
                    <a:pt x="102" y="64"/>
                  </a:lnTo>
                  <a:lnTo>
                    <a:pt x="112" y="56"/>
                  </a:lnTo>
                  <a:lnTo>
                    <a:pt x="123" y="48"/>
                  </a:lnTo>
                  <a:lnTo>
                    <a:pt x="134" y="41"/>
                  </a:lnTo>
                  <a:lnTo>
                    <a:pt x="146" y="34"/>
                  </a:lnTo>
                  <a:lnTo>
                    <a:pt x="158" y="28"/>
                  </a:lnTo>
                  <a:lnTo>
                    <a:pt x="171" y="22"/>
                  </a:lnTo>
                  <a:lnTo>
                    <a:pt x="183" y="17"/>
                  </a:lnTo>
                  <a:lnTo>
                    <a:pt x="197" y="13"/>
                  </a:lnTo>
                  <a:lnTo>
                    <a:pt x="209" y="10"/>
                  </a:lnTo>
                  <a:lnTo>
                    <a:pt x="223" y="6"/>
                  </a:lnTo>
                  <a:lnTo>
                    <a:pt x="236" y="4"/>
                  </a:lnTo>
                  <a:lnTo>
                    <a:pt x="251" y="2"/>
                  </a:lnTo>
                  <a:lnTo>
                    <a:pt x="264" y="0"/>
                  </a:lnTo>
                  <a:lnTo>
                    <a:pt x="279"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1218987"/>
              <a:endParaRPr lang="en-US" sz="2400">
                <a:solidFill>
                  <a:prstClr val="black"/>
                </a:solidFill>
                <a:latin typeface="Calibri"/>
              </a:endParaRPr>
            </a:p>
          </p:txBody>
        </p:sp>
        <p:sp>
          <p:nvSpPr>
            <p:cNvPr id="92" name="Freeform 26">
              <a:extLst>
                <a:ext uri="{FF2B5EF4-FFF2-40B4-BE49-F238E27FC236}">
                  <a16:creationId xmlns:a16="http://schemas.microsoft.com/office/drawing/2014/main" xmlns="" id="{0FA4FF10-F3FD-48E7-90FF-D6AF0D16D7C7}"/>
                </a:ext>
              </a:extLst>
            </p:cNvPr>
            <p:cNvSpPr>
              <a:spLocks/>
            </p:cNvSpPr>
            <p:nvPr/>
          </p:nvSpPr>
          <p:spPr bwMode="auto">
            <a:xfrm>
              <a:off x="6529738" y="5962650"/>
              <a:ext cx="184150" cy="185738"/>
            </a:xfrm>
            <a:custGeom>
              <a:avLst/>
              <a:gdLst>
                <a:gd name="T0" fmla="*/ 193 w 350"/>
                <a:gd name="T1" fmla="*/ 2 h 351"/>
                <a:gd name="T2" fmla="*/ 227 w 350"/>
                <a:gd name="T3" fmla="*/ 8 h 351"/>
                <a:gd name="T4" fmla="*/ 259 w 350"/>
                <a:gd name="T5" fmla="*/ 22 h 351"/>
                <a:gd name="T6" fmla="*/ 287 w 350"/>
                <a:gd name="T7" fmla="*/ 40 h 351"/>
                <a:gd name="T8" fmla="*/ 311 w 350"/>
                <a:gd name="T9" fmla="*/ 65 h 351"/>
                <a:gd name="T10" fmla="*/ 330 w 350"/>
                <a:gd name="T11" fmla="*/ 92 h 351"/>
                <a:gd name="T12" fmla="*/ 342 w 350"/>
                <a:gd name="T13" fmla="*/ 124 h 351"/>
                <a:gd name="T14" fmla="*/ 349 w 350"/>
                <a:gd name="T15" fmla="*/ 157 h 351"/>
                <a:gd name="T16" fmla="*/ 349 w 350"/>
                <a:gd name="T17" fmla="*/ 194 h 351"/>
                <a:gd name="T18" fmla="*/ 342 w 350"/>
                <a:gd name="T19" fmla="*/ 227 h 351"/>
                <a:gd name="T20" fmla="*/ 330 w 350"/>
                <a:gd name="T21" fmla="*/ 259 h 351"/>
                <a:gd name="T22" fmla="*/ 311 w 350"/>
                <a:gd name="T23" fmla="*/ 287 h 351"/>
                <a:gd name="T24" fmla="*/ 287 w 350"/>
                <a:gd name="T25" fmla="*/ 311 h 351"/>
                <a:gd name="T26" fmla="*/ 259 w 350"/>
                <a:gd name="T27" fmla="*/ 330 h 351"/>
                <a:gd name="T28" fmla="*/ 227 w 350"/>
                <a:gd name="T29" fmla="*/ 343 h 351"/>
                <a:gd name="T30" fmla="*/ 193 w 350"/>
                <a:gd name="T31" fmla="*/ 351 h 351"/>
                <a:gd name="T32" fmla="*/ 157 w 350"/>
                <a:gd name="T33" fmla="*/ 351 h 351"/>
                <a:gd name="T34" fmla="*/ 123 w 350"/>
                <a:gd name="T35" fmla="*/ 343 h 351"/>
                <a:gd name="T36" fmla="*/ 92 w 350"/>
                <a:gd name="T37" fmla="*/ 330 h 351"/>
                <a:gd name="T38" fmla="*/ 63 w 350"/>
                <a:gd name="T39" fmla="*/ 311 h 351"/>
                <a:gd name="T40" fmla="*/ 40 w 350"/>
                <a:gd name="T41" fmla="*/ 287 h 351"/>
                <a:gd name="T42" fmla="*/ 21 w 350"/>
                <a:gd name="T43" fmla="*/ 259 h 351"/>
                <a:gd name="T44" fmla="*/ 8 w 350"/>
                <a:gd name="T45" fmla="*/ 227 h 351"/>
                <a:gd name="T46" fmla="*/ 1 w 350"/>
                <a:gd name="T47" fmla="*/ 194 h 351"/>
                <a:gd name="T48" fmla="*/ 1 w 350"/>
                <a:gd name="T49" fmla="*/ 157 h 351"/>
                <a:gd name="T50" fmla="*/ 8 w 350"/>
                <a:gd name="T51" fmla="*/ 124 h 351"/>
                <a:gd name="T52" fmla="*/ 21 w 350"/>
                <a:gd name="T53" fmla="*/ 92 h 351"/>
                <a:gd name="T54" fmla="*/ 40 w 350"/>
                <a:gd name="T55" fmla="*/ 65 h 351"/>
                <a:gd name="T56" fmla="*/ 63 w 350"/>
                <a:gd name="T57" fmla="*/ 40 h 351"/>
                <a:gd name="T58" fmla="*/ 92 w 350"/>
                <a:gd name="T59" fmla="*/ 22 h 351"/>
                <a:gd name="T60" fmla="*/ 123 w 350"/>
                <a:gd name="T61" fmla="*/ 8 h 351"/>
                <a:gd name="T62" fmla="*/ 157 w 350"/>
                <a:gd name="T63" fmla="*/ 2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0" h="351">
                  <a:moveTo>
                    <a:pt x="175" y="0"/>
                  </a:moveTo>
                  <a:lnTo>
                    <a:pt x="193" y="2"/>
                  </a:lnTo>
                  <a:lnTo>
                    <a:pt x="210" y="4"/>
                  </a:lnTo>
                  <a:lnTo>
                    <a:pt x="227" y="8"/>
                  </a:lnTo>
                  <a:lnTo>
                    <a:pt x="243" y="14"/>
                  </a:lnTo>
                  <a:lnTo>
                    <a:pt x="259" y="22"/>
                  </a:lnTo>
                  <a:lnTo>
                    <a:pt x="273" y="31"/>
                  </a:lnTo>
                  <a:lnTo>
                    <a:pt x="287" y="40"/>
                  </a:lnTo>
                  <a:lnTo>
                    <a:pt x="299" y="51"/>
                  </a:lnTo>
                  <a:lnTo>
                    <a:pt x="311" y="65"/>
                  </a:lnTo>
                  <a:lnTo>
                    <a:pt x="321" y="77"/>
                  </a:lnTo>
                  <a:lnTo>
                    <a:pt x="330" y="92"/>
                  </a:lnTo>
                  <a:lnTo>
                    <a:pt x="337" y="108"/>
                  </a:lnTo>
                  <a:lnTo>
                    <a:pt x="342" y="124"/>
                  </a:lnTo>
                  <a:lnTo>
                    <a:pt x="347" y="140"/>
                  </a:lnTo>
                  <a:lnTo>
                    <a:pt x="349" y="157"/>
                  </a:lnTo>
                  <a:lnTo>
                    <a:pt x="350" y="176"/>
                  </a:lnTo>
                  <a:lnTo>
                    <a:pt x="349" y="194"/>
                  </a:lnTo>
                  <a:lnTo>
                    <a:pt x="347" y="211"/>
                  </a:lnTo>
                  <a:lnTo>
                    <a:pt x="342" y="227"/>
                  </a:lnTo>
                  <a:lnTo>
                    <a:pt x="337" y="244"/>
                  </a:lnTo>
                  <a:lnTo>
                    <a:pt x="330" y="259"/>
                  </a:lnTo>
                  <a:lnTo>
                    <a:pt x="321" y="274"/>
                  </a:lnTo>
                  <a:lnTo>
                    <a:pt x="311" y="287"/>
                  </a:lnTo>
                  <a:lnTo>
                    <a:pt x="299" y="300"/>
                  </a:lnTo>
                  <a:lnTo>
                    <a:pt x="287" y="311"/>
                  </a:lnTo>
                  <a:lnTo>
                    <a:pt x="273" y="321"/>
                  </a:lnTo>
                  <a:lnTo>
                    <a:pt x="259" y="330"/>
                  </a:lnTo>
                  <a:lnTo>
                    <a:pt x="243" y="337"/>
                  </a:lnTo>
                  <a:lnTo>
                    <a:pt x="227" y="343"/>
                  </a:lnTo>
                  <a:lnTo>
                    <a:pt x="210" y="347"/>
                  </a:lnTo>
                  <a:lnTo>
                    <a:pt x="193" y="351"/>
                  </a:lnTo>
                  <a:lnTo>
                    <a:pt x="175" y="351"/>
                  </a:lnTo>
                  <a:lnTo>
                    <a:pt x="157" y="351"/>
                  </a:lnTo>
                  <a:lnTo>
                    <a:pt x="140" y="347"/>
                  </a:lnTo>
                  <a:lnTo>
                    <a:pt x="123" y="343"/>
                  </a:lnTo>
                  <a:lnTo>
                    <a:pt x="107" y="337"/>
                  </a:lnTo>
                  <a:lnTo>
                    <a:pt x="92" y="330"/>
                  </a:lnTo>
                  <a:lnTo>
                    <a:pt x="77" y="321"/>
                  </a:lnTo>
                  <a:lnTo>
                    <a:pt x="63" y="311"/>
                  </a:lnTo>
                  <a:lnTo>
                    <a:pt x="51" y="300"/>
                  </a:lnTo>
                  <a:lnTo>
                    <a:pt x="40" y="287"/>
                  </a:lnTo>
                  <a:lnTo>
                    <a:pt x="29" y="274"/>
                  </a:lnTo>
                  <a:lnTo>
                    <a:pt x="21" y="259"/>
                  </a:lnTo>
                  <a:lnTo>
                    <a:pt x="14" y="244"/>
                  </a:lnTo>
                  <a:lnTo>
                    <a:pt x="8" y="227"/>
                  </a:lnTo>
                  <a:lnTo>
                    <a:pt x="3" y="211"/>
                  </a:lnTo>
                  <a:lnTo>
                    <a:pt x="1" y="194"/>
                  </a:lnTo>
                  <a:lnTo>
                    <a:pt x="0" y="176"/>
                  </a:lnTo>
                  <a:lnTo>
                    <a:pt x="1" y="157"/>
                  </a:lnTo>
                  <a:lnTo>
                    <a:pt x="3" y="140"/>
                  </a:lnTo>
                  <a:lnTo>
                    <a:pt x="8" y="124"/>
                  </a:lnTo>
                  <a:lnTo>
                    <a:pt x="14" y="108"/>
                  </a:lnTo>
                  <a:lnTo>
                    <a:pt x="21" y="92"/>
                  </a:lnTo>
                  <a:lnTo>
                    <a:pt x="29" y="77"/>
                  </a:lnTo>
                  <a:lnTo>
                    <a:pt x="40" y="65"/>
                  </a:lnTo>
                  <a:lnTo>
                    <a:pt x="51" y="51"/>
                  </a:lnTo>
                  <a:lnTo>
                    <a:pt x="63" y="40"/>
                  </a:lnTo>
                  <a:lnTo>
                    <a:pt x="77" y="31"/>
                  </a:lnTo>
                  <a:lnTo>
                    <a:pt x="92" y="22"/>
                  </a:lnTo>
                  <a:lnTo>
                    <a:pt x="107" y="14"/>
                  </a:lnTo>
                  <a:lnTo>
                    <a:pt x="123" y="8"/>
                  </a:lnTo>
                  <a:lnTo>
                    <a:pt x="140" y="4"/>
                  </a:lnTo>
                  <a:lnTo>
                    <a:pt x="157" y="2"/>
                  </a:lnTo>
                  <a:lnTo>
                    <a:pt x="175" y="0"/>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prstClr val="black"/>
                </a:solidFill>
                <a:latin typeface="Calibri"/>
              </a:endParaRPr>
            </a:p>
          </p:txBody>
        </p:sp>
      </p:grpSp>
      <p:sp>
        <p:nvSpPr>
          <p:cNvPr id="93" name="TextBox 92">
            <a:extLst>
              <a:ext uri="{FF2B5EF4-FFF2-40B4-BE49-F238E27FC236}">
                <a16:creationId xmlns:a16="http://schemas.microsoft.com/office/drawing/2014/main" xmlns="" id="{38557CB1-BB4D-43AB-BD6E-1EDB871D50C1}"/>
              </a:ext>
            </a:extLst>
          </p:cNvPr>
          <p:cNvSpPr txBox="1"/>
          <p:nvPr/>
        </p:nvSpPr>
        <p:spPr>
          <a:xfrm>
            <a:off x="2148225" y="800478"/>
            <a:ext cx="1594482" cy="681038"/>
          </a:xfrm>
          <a:prstGeom prst="roundRect">
            <a:avLst/>
          </a:prstGeom>
        </p:spPr>
        <p:style>
          <a:lnRef idx="3">
            <a:schemeClr val="lt1"/>
          </a:lnRef>
          <a:fillRef idx="1">
            <a:schemeClr val="accent5"/>
          </a:fillRef>
          <a:effectRef idx="1">
            <a:schemeClr val="accent5"/>
          </a:effectRef>
          <a:fontRef idx="minor">
            <a:schemeClr val="lt1"/>
          </a:fontRef>
        </p:style>
        <p:txBody>
          <a:bodyPr wrap="square" lIns="0" tIns="0" rIns="0" bIns="0" rtlCol="0">
            <a:spAutoFit/>
          </a:bodyPr>
          <a:lstStyle/>
          <a:p>
            <a:pPr algn="ctr" defTabSz="1218987"/>
            <a:r>
              <a:rPr lang="en-US" sz="2000" b="1" kern="0" dirty="0">
                <a:solidFill>
                  <a:prstClr val="white"/>
                </a:solidFill>
                <a:latin typeface="Arial" pitchFamily="34" charset="0"/>
                <a:cs typeface="Arial" pitchFamily="34" charset="0"/>
              </a:rPr>
              <a:t>YEP</a:t>
            </a:r>
          </a:p>
          <a:p>
            <a:pPr algn="ctr" defTabSz="1218987"/>
            <a:r>
              <a:rPr lang="en-US" sz="2000" b="1" kern="0" dirty="0">
                <a:solidFill>
                  <a:prstClr val="white"/>
                </a:solidFill>
                <a:latin typeface="Arial" pitchFamily="34" charset="0"/>
                <a:cs typeface="Arial" pitchFamily="34" charset="0"/>
              </a:rPr>
              <a:t>     Café	</a:t>
            </a:r>
          </a:p>
        </p:txBody>
      </p:sp>
      <p:pic>
        <p:nvPicPr>
          <p:cNvPr id="9" name="Graphic 8" descr="Group brainstorm">
            <a:extLst>
              <a:ext uri="{FF2B5EF4-FFF2-40B4-BE49-F238E27FC236}">
                <a16:creationId xmlns:a16="http://schemas.microsoft.com/office/drawing/2014/main" xmlns="" id="{8EEEF2E4-2FDA-4054-8FF0-62D5A162C56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6034101" y="1820376"/>
            <a:ext cx="630997" cy="630997"/>
          </a:xfrm>
          <a:prstGeom prst="rect">
            <a:avLst/>
          </a:prstGeom>
        </p:spPr>
      </p:pic>
    </p:spTree>
    <p:extLst>
      <p:ext uri="{BB962C8B-B14F-4D97-AF65-F5344CB8AC3E}">
        <p14:creationId xmlns:p14="http://schemas.microsoft.com/office/powerpoint/2010/main" val="6864161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xmlns="" id="{907EF6B7-1338-4443-8C46-6A318D952DFD}"/>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xmlns="" id="{DAAE4CDD-124C-4DCF-9584-B6033B545DD5}"/>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Arc 11">
            <a:extLst>
              <a:ext uri="{FF2B5EF4-FFF2-40B4-BE49-F238E27FC236}">
                <a16:creationId xmlns:a16="http://schemas.microsoft.com/office/drawing/2014/main" xmlns="" id="{081E4A58-353D-44AE-B2FC-2A74E2E400F7}"/>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 name="TextBox 2">
            <a:extLst>
              <a:ext uri="{FF2B5EF4-FFF2-40B4-BE49-F238E27FC236}">
                <a16:creationId xmlns:a16="http://schemas.microsoft.com/office/drawing/2014/main" xmlns="" id="{88093961-374F-40FD-90F6-1F2E6F7E266F}"/>
              </a:ext>
            </a:extLst>
          </p:cNvPr>
          <p:cNvSpPr txBox="1"/>
          <p:nvPr/>
        </p:nvSpPr>
        <p:spPr>
          <a:xfrm>
            <a:off x="340635" y="980901"/>
            <a:ext cx="6906491" cy="5662203"/>
          </a:xfrm>
          <a:prstGeom prst="rect">
            <a:avLst/>
          </a:prstGeom>
        </p:spPr>
        <p:txBody>
          <a:bodyPr vert="horz" lIns="91440" tIns="45720" rIns="91440" bIns="45720" rtlCol="0" anchor="ctr">
            <a:normAutofit/>
          </a:bodyPr>
          <a:lstStyle/>
          <a:p>
            <a:pPr marL="285750" indent="-285750">
              <a:lnSpc>
                <a:spcPct val="90000"/>
              </a:lnSpc>
              <a:spcAft>
                <a:spcPts val="600"/>
              </a:spcAft>
              <a:buFont typeface="Arial" panose="020B0604020202020204" pitchFamily="34" charset="0"/>
              <a:buChar char="•"/>
            </a:pPr>
            <a:r>
              <a:rPr lang="en-US" b="1" i="1" dirty="0"/>
              <a:t>YEP Community Manager</a:t>
            </a:r>
            <a:r>
              <a:rPr lang="en-US" dirty="0"/>
              <a:t> - Primarily responsible for driving and ensuring completion of Journey for respective BU’s, timely Communication and to drive weekly engagements for the community. </a:t>
            </a:r>
          </a:p>
          <a:p>
            <a:pPr>
              <a:lnSpc>
                <a:spcPct val="90000"/>
              </a:lnSpc>
              <a:spcAft>
                <a:spcPts val="600"/>
              </a:spcAft>
            </a:pPr>
            <a:r>
              <a:rPr lang="en-US" dirty="0"/>
              <a:t>     </a:t>
            </a:r>
          </a:p>
          <a:p>
            <a:pPr indent="-228600">
              <a:lnSpc>
                <a:spcPct val="90000"/>
              </a:lnSpc>
              <a:spcAft>
                <a:spcPts val="600"/>
              </a:spcAft>
              <a:buFont typeface="Arial" panose="020B0604020202020204" pitchFamily="34" charset="0"/>
              <a:buChar char="•"/>
            </a:pPr>
            <a:r>
              <a:rPr lang="en-US" b="1" i="1" dirty="0" smtClean="0"/>
              <a:t>LBP</a:t>
            </a:r>
            <a:r>
              <a:rPr lang="en-US" dirty="0" smtClean="0"/>
              <a:t> </a:t>
            </a:r>
            <a:r>
              <a:rPr lang="en-US" dirty="0"/>
              <a:t>– Will help drive the program along with Community Managers.</a:t>
            </a:r>
          </a:p>
          <a:p>
            <a:pPr indent="-228600">
              <a:lnSpc>
                <a:spcPct val="90000"/>
              </a:lnSpc>
              <a:spcAft>
                <a:spcPts val="600"/>
              </a:spcAft>
              <a:buFont typeface="Arial" panose="020B0604020202020204" pitchFamily="34" charset="0"/>
              <a:buChar char="•"/>
            </a:pPr>
            <a:endParaRPr lang="en-US" dirty="0"/>
          </a:p>
          <a:p>
            <a:pPr indent="-228600">
              <a:lnSpc>
                <a:spcPct val="90000"/>
              </a:lnSpc>
              <a:spcAft>
                <a:spcPts val="600"/>
              </a:spcAft>
              <a:buFont typeface="Arial" panose="020B0604020202020204" pitchFamily="34" charset="0"/>
              <a:buChar char="•"/>
            </a:pPr>
            <a:r>
              <a:rPr lang="en-US" b="1" i="1" dirty="0"/>
              <a:t>HRBP</a:t>
            </a:r>
            <a:r>
              <a:rPr lang="en-US" dirty="0"/>
              <a:t> – To validate the list of </a:t>
            </a:r>
            <a:r>
              <a:rPr lang="en-US" dirty="0" err="1"/>
              <a:t>pax</a:t>
            </a:r>
            <a:r>
              <a:rPr lang="en-US" dirty="0"/>
              <a:t> and also evangelize the session within </a:t>
            </a:r>
            <a:r>
              <a:rPr lang="en-US" dirty="0" smtClean="0"/>
              <a:t>BU’s</a:t>
            </a:r>
          </a:p>
          <a:p>
            <a:pPr indent="-228600">
              <a:lnSpc>
                <a:spcPct val="90000"/>
              </a:lnSpc>
              <a:spcAft>
                <a:spcPts val="600"/>
              </a:spcAft>
              <a:buFont typeface="Arial" panose="020B0604020202020204" pitchFamily="34" charset="0"/>
              <a:buChar char="•"/>
            </a:pPr>
            <a:endParaRPr lang="en-US" dirty="0"/>
          </a:p>
          <a:p>
            <a:pPr indent="-228600">
              <a:lnSpc>
                <a:spcPct val="90000"/>
              </a:lnSpc>
              <a:spcAft>
                <a:spcPts val="600"/>
              </a:spcAft>
              <a:buFont typeface="Arial" panose="020B0604020202020204" pitchFamily="34" charset="0"/>
              <a:buChar char="•"/>
            </a:pPr>
            <a:r>
              <a:rPr lang="en-US" dirty="0" smtClean="0"/>
              <a:t>Yam Jam sessions with BU Leaders</a:t>
            </a:r>
          </a:p>
          <a:p>
            <a:pPr indent="-228600">
              <a:lnSpc>
                <a:spcPct val="90000"/>
              </a:lnSpc>
              <a:spcAft>
                <a:spcPts val="600"/>
              </a:spcAft>
              <a:buFont typeface="Arial" panose="020B0604020202020204" pitchFamily="34" charset="0"/>
              <a:buChar char="•"/>
            </a:pPr>
            <a:endParaRPr lang="en-US" dirty="0"/>
          </a:p>
          <a:p>
            <a:pPr indent="-228600">
              <a:lnSpc>
                <a:spcPct val="90000"/>
              </a:lnSpc>
              <a:spcAft>
                <a:spcPts val="600"/>
              </a:spcAft>
              <a:buFont typeface="Arial" panose="020B0604020202020204" pitchFamily="34" charset="0"/>
              <a:buChar char="•"/>
            </a:pPr>
            <a:r>
              <a:rPr lang="en-US" dirty="0" smtClean="0"/>
              <a:t>Yammer to enable participants to share program testimonials</a:t>
            </a:r>
            <a:endParaRPr lang="en-US" dirty="0"/>
          </a:p>
          <a:p>
            <a:pPr indent="-228600">
              <a:lnSpc>
                <a:spcPct val="90000"/>
              </a:lnSpc>
              <a:spcAft>
                <a:spcPts val="600"/>
              </a:spcAft>
              <a:buFont typeface="Arial" panose="020B0604020202020204" pitchFamily="34" charset="0"/>
              <a:buChar char="•"/>
            </a:pPr>
            <a:endParaRPr lang="en-US" dirty="0"/>
          </a:p>
          <a:p>
            <a:pPr indent="-228600">
              <a:lnSpc>
                <a:spcPct val="90000"/>
              </a:lnSpc>
              <a:spcAft>
                <a:spcPts val="600"/>
              </a:spcAft>
              <a:buFont typeface="Arial" panose="020B0604020202020204" pitchFamily="34" charset="0"/>
              <a:buChar char="•"/>
            </a:pPr>
            <a:endParaRPr lang="en-US" dirty="0"/>
          </a:p>
        </p:txBody>
      </p:sp>
      <p:sp>
        <p:nvSpPr>
          <p:cNvPr id="4" name="Title 3"/>
          <p:cNvSpPr>
            <a:spLocks noGrp="1"/>
          </p:cNvSpPr>
          <p:nvPr>
            <p:ph type="title"/>
          </p:nvPr>
        </p:nvSpPr>
        <p:spPr/>
        <p:txBody>
          <a:bodyPr/>
          <a:lstStyle/>
          <a:p>
            <a:r>
              <a:rPr lang="en-US" b="1" dirty="0" smtClean="0"/>
              <a:t>Learner Experience</a:t>
            </a:r>
            <a:endParaRPr lang="en-US" b="1" dirty="0"/>
          </a:p>
        </p:txBody>
      </p:sp>
      <p:graphicFrame>
        <p:nvGraphicFramePr>
          <p:cNvPr id="9" name="Object 8"/>
          <p:cNvGraphicFramePr>
            <a:graphicFrameLocks noChangeAspect="1"/>
          </p:cNvGraphicFramePr>
          <p:nvPr>
            <p:extLst>
              <p:ext uri="{D42A27DB-BD31-4B8C-83A1-F6EECF244321}">
                <p14:modId xmlns:p14="http://schemas.microsoft.com/office/powerpoint/2010/main" val="2577335318"/>
              </p:ext>
            </p:extLst>
          </p:nvPr>
        </p:nvGraphicFramePr>
        <p:xfrm>
          <a:off x="7086600" y="1102933"/>
          <a:ext cx="4114800" cy="5520366"/>
        </p:xfrm>
        <a:graphic>
          <a:graphicData uri="http://schemas.openxmlformats.org/presentationml/2006/ole">
            <mc:AlternateContent xmlns:mc="http://schemas.openxmlformats.org/markup-compatibility/2006">
              <mc:Choice xmlns:v="urn:schemas-microsoft-com:vml" Requires="v">
                <p:oleObj spid="_x0000_s31746" name="Worksheet" r:id="rId3" imgW="3346290" imgH="7556485" progId="Excel.Sheet.12">
                  <p:embed/>
                </p:oleObj>
              </mc:Choice>
              <mc:Fallback>
                <p:oleObj name="Worksheet" r:id="rId3" imgW="3346290" imgH="7556485" progId="Excel.Sheet.12">
                  <p:embed/>
                  <p:pic>
                    <p:nvPicPr>
                      <p:cNvPr id="0" name=""/>
                      <p:cNvPicPr/>
                      <p:nvPr/>
                    </p:nvPicPr>
                    <p:blipFill>
                      <a:blip r:embed="rId4"/>
                      <a:stretch>
                        <a:fillRect/>
                      </a:stretch>
                    </p:blipFill>
                    <p:spPr>
                      <a:xfrm>
                        <a:off x="7086600" y="1102933"/>
                        <a:ext cx="4114800" cy="5520366"/>
                      </a:xfrm>
                      <a:prstGeom prst="rect">
                        <a:avLst/>
                      </a:prstGeom>
                    </p:spPr>
                  </p:pic>
                </p:oleObj>
              </mc:Fallback>
            </mc:AlternateContent>
          </a:graphicData>
        </a:graphic>
      </p:graphicFrame>
    </p:spTree>
    <p:extLst>
      <p:ext uri="{BB962C8B-B14F-4D97-AF65-F5344CB8AC3E}">
        <p14:creationId xmlns:p14="http://schemas.microsoft.com/office/powerpoint/2010/main" val="32983150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F33DD8C-AF14-4D4D-AC61-57E1C979A4DE}"/>
              </a:ext>
            </a:extLst>
          </p:cNvPr>
          <p:cNvSpPr>
            <a:spLocks noGrp="1"/>
          </p:cNvSpPr>
          <p:nvPr>
            <p:ph type="title"/>
          </p:nvPr>
        </p:nvSpPr>
        <p:spPr>
          <a:xfrm>
            <a:off x="228600" y="38100"/>
            <a:ext cx="10972801" cy="711081"/>
          </a:xfrm>
        </p:spPr>
        <p:txBody>
          <a:bodyPr/>
          <a:lstStyle/>
          <a:p>
            <a:r>
              <a:rPr lang="en-US"/>
              <a:t>Next Steps</a:t>
            </a:r>
            <a:endParaRPr lang="en-US" dirty="0"/>
          </a:p>
        </p:txBody>
      </p:sp>
      <p:graphicFrame>
        <p:nvGraphicFramePr>
          <p:cNvPr id="4" name="Chart 3">
            <a:extLst>
              <a:ext uri="{FF2B5EF4-FFF2-40B4-BE49-F238E27FC236}">
                <a16:creationId xmlns:a16="http://schemas.microsoft.com/office/drawing/2014/main" xmlns="" id="{17647AB0-FB94-4815-B473-9F06BEF080D7}"/>
              </a:ext>
            </a:extLst>
          </p:cNvPr>
          <p:cNvGraphicFramePr>
            <a:graphicFrameLocks/>
          </p:cNvGraphicFramePr>
          <p:nvPr>
            <p:extLst>
              <p:ext uri="{D42A27DB-BD31-4B8C-83A1-F6EECF244321}">
                <p14:modId xmlns:p14="http://schemas.microsoft.com/office/powerpoint/2010/main" val="2712968334"/>
              </p:ext>
            </p:extLst>
          </p:nvPr>
        </p:nvGraphicFramePr>
        <p:xfrm>
          <a:off x="990599" y="990600"/>
          <a:ext cx="10210801" cy="5334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862218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2.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3.xml><?xml version="1.0" encoding="utf-8"?>
<a:theme xmlns:a="http://schemas.openxmlformats.org/drawingml/2006/main" name="Office Theme">
  <a:themeElements>
    <a:clrScheme name="Template 11.1">
      <a:dk1>
        <a:sysClr val="windowText" lastClr="000000"/>
      </a:dk1>
      <a:lt1>
        <a:sysClr val="window" lastClr="FFFFFF"/>
      </a:lt1>
      <a:dk2>
        <a:srgbClr val="1F497D"/>
      </a:dk2>
      <a:lt2>
        <a:srgbClr val="EEECE1"/>
      </a:lt2>
      <a:accent1>
        <a:srgbClr val="EE1E1E"/>
      </a:accent1>
      <a:accent2>
        <a:srgbClr val="93D050"/>
      </a:accent2>
      <a:accent3>
        <a:srgbClr val="DA4C26"/>
      </a:accent3>
      <a:accent4>
        <a:srgbClr val="033E50"/>
      </a:accent4>
      <a:accent5>
        <a:srgbClr val="009783"/>
      </a:accent5>
      <a:accent6>
        <a:srgbClr val="C1C2CA"/>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82274F49CB1FD45987F9BE4A0476BE5" ma:contentTypeVersion="10" ma:contentTypeDescription="Create a new document." ma:contentTypeScope="" ma:versionID="6067d010be3bea485eeaafaadfa94960">
  <xsd:schema xmlns:xsd="http://www.w3.org/2001/XMLSchema" xmlns:xs="http://www.w3.org/2001/XMLSchema" xmlns:p="http://schemas.microsoft.com/office/2006/metadata/properties" xmlns:ns3="5fce2e26-8b08-432a-80f1-0d67c0ce4909" targetNamespace="http://schemas.microsoft.com/office/2006/metadata/properties" ma:root="true" ma:fieldsID="626764090c08804618570af35f247130" ns3:_="">
    <xsd:import namespace="5fce2e26-8b08-432a-80f1-0d67c0ce490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fce2e26-8b08-432a-80f1-0d67c0ce49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6540605-9F73-4F8C-928A-A439712ADC28}">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5fce2e26-8b08-432a-80f1-0d67c0ce4909"/>
    <ds:schemaRef ds:uri="http://www.w3.org/XML/1998/namespace"/>
    <ds:schemaRef ds:uri="http://purl.org/dc/dcmitype/"/>
  </ds:schemaRefs>
</ds:datastoreItem>
</file>

<file path=customXml/itemProps2.xml><?xml version="1.0" encoding="utf-8"?>
<ds:datastoreItem xmlns:ds="http://schemas.openxmlformats.org/officeDocument/2006/customXml" ds:itemID="{7800CE0B-F0F0-48B7-AAAB-09204837DE44}">
  <ds:schemaRefs>
    <ds:schemaRef ds:uri="http://schemas.microsoft.com/sharepoint/v3/contenttype/forms"/>
  </ds:schemaRefs>
</ds:datastoreItem>
</file>

<file path=customXml/itemProps3.xml><?xml version="1.0" encoding="utf-8"?>
<ds:datastoreItem xmlns:ds="http://schemas.openxmlformats.org/officeDocument/2006/customXml" ds:itemID="{27A85EB2-A044-4D71-9C62-9CFF2310A0E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fce2e26-8b08-432a-80f1-0d67c0ce490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517</TotalTime>
  <Words>201</Words>
  <Application>Microsoft Office PowerPoint</Application>
  <PresentationFormat>Widescreen</PresentationFormat>
  <Paragraphs>49</Paragraphs>
  <Slides>6</Slides>
  <Notes>2</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2</vt:i4>
      </vt:variant>
      <vt:variant>
        <vt:lpstr>Slide Titles</vt:lpstr>
      </vt:variant>
      <vt:variant>
        <vt:i4>6</vt:i4>
      </vt:variant>
    </vt:vector>
  </HeadingPairs>
  <TitlesOfParts>
    <vt:vector size="17" baseType="lpstr">
      <vt:lpstr>Agency FB</vt:lpstr>
      <vt:lpstr>Arial</vt:lpstr>
      <vt:lpstr>Arial Rounded MT Bold</vt:lpstr>
      <vt:lpstr>Calibri</vt:lpstr>
      <vt:lpstr>Verdana</vt:lpstr>
      <vt:lpstr>Wingdings</vt:lpstr>
      <vt:lpstr>Cover options</vt:lpstr>
      <vt:lpstr>Final slides</vt:lpstr>
      <vt:lpstr>Office Theme</vt:lpstr>
      <vt:lpstr>think-cell Slide</vt:lpstr>
      <vt:lpstr>Microsoft Excel Worksheet</vt:lpstr>
      <vt:lpstr>Young Emerging Professional (YEP Lite) India Launch</vt:lpstr>
      <vt:lpstr>PowerPoint Presentation</vt:lpstr>
      <vt:lpstr>Learner Experience</vt:lpstr>
      <vt:lpstr>Next Steps</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oung Emerging Professional (YEP) India Launch</dc:title>
  <dc:creator>Natarajan, Vijay</dc:creator>
  <cp:lastModifiedBy>SHIVASUBRAMANIAN, PRACHETA</cp:lastModifiedBy>
  <cp:revision>6</cp:revision>
  <dcterms:created xsi:type="dcterms:W3CDTF">2020-05-05T08:43:07Z</dcterms:created>
  <dcterms:modified xsi:type="dcterms:W3CDTF">2020-05-15T10:26: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2274F49CB1FD45987F9BE4A0476BE5</vt:lpwstr>
  </property>
</Properties>
</file>